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0"/>
  </p:notesMasterIdLst>
  <p:sldIdLst>
    <p:sldId id="257" r:id="rId2"/>
    <p:sldId id="280" r:id="rId3"/>
    <p:sldId id="324" r:id="rId4"/>
    <p:sldId id="310" r:id="rId5"/>
    <p:sldId id="309" r:id="rId6"/>
    <p:sldId id="311" r:id="rId7"/>
    <p:sldId id="312" r:id="rId8"/>
    <p:sldId id="313" r:id="rId9"/>
    <p:sldId id="314" r:id="rId10"/>
    <p:sldId id="316" r:id="rId11"/>
    <p:sldId id="323" r:id="rId12"/>
    <p:sldId id="317" r:id="rId13"/>
    <p:sldId id="318" r:id="rId14"/>
    <p:sldId id="321" r:id="rId15"/>
    <p:sldId id="322" r:id="rId16"/>
    <p:sldId id="319" r:id="rId17"/>
    <p:sldId id="320" r:id="rId18"/>
    <p:sldId id="260" r:id="rId1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9">
          <p15:clr>
            <a:srgbClr val="A4A3A4"/>
          </p15:clr>
        </p15:guide>
        <p15:guide id="4" orient="horz" pos="5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4D3"/>
    <a:srgbClr val="F8F8F8"/>
    <a:srgbClr val="646464"/>
    <a:srgbClr val="F7F7F7"/>
    <a:srgbClr val="FFFFFF"/>
    <a:srgbClr val="F1F1F1"/>
    <a:srgbClr val="006C66"/>
    <a:srgbClr val="8E1F3B"/>
    <a:srgbClr val="8D1A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4B5682-94DE-4CC3-909F-F660F4FE4942}" v="1055" dt="2022-09-13T08:53:53.7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61" autoAdjust="0"/>
    <p:restoredTop sz="78731" autoAdjust="0"/>
  </p:normalViewPr>
  <p:slideViewPr>
    <p:cSldViewPr snapToGrid="0" showGuides="1">
      <p:cViewPr varScale="1">
        <p:scale>
          <a:sx n="86" d="100"/>
          <a:sy n="86" d="100"/>
        </p:scale>
        <p:origin x="1416" y="84"/>
      </p:cViewPr>
      <p:guideLst>
        <p:guide orient="horz" pos="2160"/>
        <p:guide pos="3840"/>
        <p:guide orient="horz" pos="109"/>
        <p:guide orient="horz" pos="5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Theile" userId="78fa646590d237ca" providerId="LiveId" clId="{E14B5682-94DE-4CC3-909F-F660F4FE4942}"/>
    <pc:docChg chg="undo redo custSel addSld delSld modSld sldOrd">
      <pc:chgData name="Alex Theile" userId="78fa646590d237ca" providerId="LiveId" clId="{E14B5682-94DE-4CC3-909F-F660F4FE4942}" dt="2022-09-13T11:20:22.368" v="7679" actId="47"/>
      <pc:docMkLst>
        <pc:docMk/>
      </pc:docMkLst>
      <pc:sldChg chg="modSp mod">
        <pc:chgData name="Alex Theile" userId="78fa646590d237ca" providerId="LiveId" clId="{E14B5682-94DE-4CC3-909F-F660F4FE4942}" dt="2022-09-13T08:56:12.055" v="7677" actId="6549"/>
        <pc:sldMkLst>
          <pc:docMk/>
          <pc:sldMk cId="1022577547" sldId="257"/>
        </pc:sldMkLst>
        <pc:spChg chg="mod">
          <ac:chgData name="Alex Theile" userId="78fa646590d237ca" providerId="LiveId" clId="{E14B5682-94DE-4CC3-909F-F660F4FE4942}" dt="2022-09-13T08:56:12.055" v="7677" actId="6549"/>
          <ac:spMkLst>
            <pc:docMk/>
            <pc:sldMk cId="1022577547" sldId="257"/>
            <ac:spMk id="3" creationId="{AE5A2311-CEFE-5E45-86DE-BC684D88557B}"/>
          </ac:spMkLst>
        </pc:spChg>
      </pc:sldChg>
      <pc:sldChg chg="del">
        <pc:chgData name="Alex Theile" userId="78fa646590d237ca" providerId="LiveId" clId="{E14B5682-94DE-4CC3-909F-F660F4FE4942}" dt="2022-09-13T07:34:58.301" v="6786" actId="47"/>
        <pc:sldMkLst>
          <pc:docMk/>
          <pc:sldMk cId="3988427841" sldId="258"/>
        </pc:sldMkLst>
      </pc:sldChg>
      <pc:sldChg chg="delSp modSp mod">
        <pc:chgData name="Alex Theile" userId="78fa646590d237ca" providerId="LiveId" clId="{E14B5682-94DE-4CC3-909F-F660F4FE4942}" dt="2022-09-13T11:20:15.418" v="7678" actId="478"/>
        <pc:sldMkLst>
          <pc:docMk/>
          <pc:sldMk cId="413461384" sldId="260"/>
        </pc:sldMkLst>
        <pc:spChg chg="mod">
          <ac:chgData name="Alex Theile" userId="78fa646590d237ca" providerId="LiveId" clId="{E14B5682-94DE-4CC3-909F-F660F4FE4942}" dt="2022-09-13T07:36:29.038" v="6897" actId="20577"/>
          <ac:spMkLst>
            <pc:docMk/>
            <pc:sldMk cId="413461384" sldId="260"/>
            <ac:spMk id="7" creationId="{09A902CE-A951-9349-884E-9C730D9F8AA3}"/>
          </ac:spMkLst>
        </pc:spChg>
        <pc:spChg chg="mod">
          <ac:chgData name="Alex Theile" userId="78fa646590d237ca" providerId="LiveId" clId="{E14B5682-94DE-4CC3-909F-F660F4FE4942}" dt="2022-09-13T07:36:18.541" v="6868" actId="20577"/>
          <ac:spMkLst>
            <pc:docMk/>
            <pc:sldMk cId="413461384" sldId="260"/>
            <ac:spMk id="17" creationId="{F4A5A453-0714-9B49-B700-ACB6D9B38A79}"/>
          </ac:spMkLst>
        </pc:spChg>
        <pc:picChg chg="del">
          <ac:chgData name="Alex Theile" userId="78fa646590d237ca" providerId="LiveId" clId="{E14B5682-94DE-4CC3-909F-F660F4FE4942}" dt="2022-09-13T11:20:15.418" v="7678" actId="478"/>
          <ac:picMkLst>
            <pc:docMk/>
            <pc:sldMk cId="413461384" sldId="260"/>
            <ac:picMk id="5" creationId="{07DE7BB5-BD4A-4D16-8FCB-1FF699C13E1A}"/>
          </ac:picMkLst>
        </pc:picChg>
      </pc:sldChg>
      <pc:sldChg chg="modSp add mod ord modNotes modNotesTx">
        <pc:chgData name="Alex Theile" userId="78fa646590d237ca" providerId="LiveId" clId="{E14B5682-94DE-4CC3-909F-F660F4FE4942}" dt="2022-09-13T08:45:33.016" v="7519" actId="20577"/>
        <pc:sldMkLst>
          <pc:docMk/>
          <pc:sldMk cId="0" sldId="264"/>
        </pc:sldMkLst>
        <pc:spChg chg="mod">
          <ac:chgData name="Alex Theile" userId="78fa646590d237ca" providerId="LiveId" clId="{E14B5682-94DE-4CC3-909F-F660F4FE4942}" dt="2022-09-13T05:20:29.045" v="3356" actId="20577"/>
          <ac:spMkLst>
            <pc:docMk/>
            <pc:sldMk cId="0" sldId="264"/>
            <ac:spMk id="216" creationId="{00000000-0000-0000-0000-000000000000}"/>
          </ac:spMkLst>
        </pc:spChg>
        <pc:spChg chg="mod">
          <ac:chgData name="Alex Theile" userId="78fa646590d237ca" providerId="LiveId" clId="{E14B5682-94DE-4CC3-909F-F660F4FE4942}" dt="2022-09-13T08:45:33.016" v="7519" actId="20577"/>
          <ac:spMkLst>
            <pc:docMk/>
            <pc:sldMk cId="0" sldId="264"/>
            <ac:spMk id="222" creationId="{00000000-0000-0000-0000-000000000000}"/>
          </ac:spMkLst>
        </pc:spChg>
        <pc:picChg chg="mod">
          <ac:chgData name="Alex Theile" userId="78fa646590d237ca" providerId="LiveId" clId="{E14B5682-94DE-4CC3-909F-F660F4FE4942}" dt="2022-09-13T06:31:48.227" v="4622" actId="1076"/>
          <ac:picMkLst>
            <pc:docMk/>
            <pc:sldMk cId="0" sldId="264"/>
            <ac:picMk id="219" creationId="{00000000-0000-0000-0000-000000000000}"/>
          </ac:picMkLst>
        </pc:picChg>
        <pc:picChg chg="mod">
          <ac:chgData name="Alex Theile" userId="78fa646590d237ca" providerId="LiveId" clId="{E14B5682-94DE-4CC3-909F-F660F4FE4942}" dt="2022-09-13T06:32:43.813" v="4712" actId="1035"/>
          <ac:picMkLst>
            <pc:docMk/>
            <pc:sldMk cId="0" sldId="264"/>
            <ac:picMk id="220" creationId="{00000000-0000-0000-0000-000000000000}"/>
          </ac:picMkLst>
        </pc:picChg>
        <pc:picChg chg="mod">
          <ac:chgData name="Alex Theile" userId="78fa646590d237ca" providerId="LiveId" clId="{E14B5682-94DE-4CC3-909F-F660F4FE4942}" dt="2022-09-13T06:32:52.468" v="4744" actId="1038"/>
          <ac:picMkLst>
            <pc:docMk/>
            <pc:sldMk cId="0" sldId="264"/>
            <ac:picMk id="221" creationId="{00000000-0000-0000-0000-000000000000}"/>
          </ac:picMkLst>
        </pc:picChg>
      </pc:sldChg>
      <pc:sldChg chg="del">
        <pc:chgData name="Alex Theile" userId="78fa646590d237ca" providerId="LiveId" clId="{E14B5682-94DE-4CC3-909F-F660F4FE4942}" dt="2022-09-13T07:34:58.301" v="6786" actId="47"/>
        <pc:sldMkLst>
          <pc:docMk/>
          <pc:sldMk cId="674072103" sldId="266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493528490" sldId="268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3093913285" sldId="269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3288973090" sldId="270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2140031905" sldId="271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2640973365" sldId="272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3411116355" sldId="273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3394678246" sldId="274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3375447834" sldId="275"/>
        </pc:sldMkLst>
      </pc:sldChg>
      <pc:sldChg chg="del">
        <pc:chgData name="Alex Theile" userId="78fa646590d237ca" providerId="LiveId" clId="{E14B5682-94DE-4CC3-909F-F660F4FE4942}" dt="2022-09-13T07:34:58.301" v="6786" actId="47"/>
        <pc:sldMkLst>
          <pc:docMk/>
          <pc:sldMk cId="2241236562" sldId="278"/>
        </pc:sldMkLst>
      </pc:sldChg>
      <pc:sldChg chg="modNotesTx">
        <pc:chgData name="Alex Theile" userId="78fa646590d237ca" providerId="LiveId" clId="{E14B5682-94DE-4CC3-909F-F660F4FE4942}" dt="2022-09-13T08:23:42.085" v="7023" actId="20577"/>
        <pc:sldMkLst>
          <pc:docMk/>
          <pc:sldMk cId="702063650" sldId="279"/>
        </pc:sldMkLst>
      </pc:sldChg>
      <pc:sldChg chg="modSp mod modNotesTx">
        <pc:chgData name="Alex Theile" userId="78fa646590d237ca" providerId="LiveId" clId="{E14B5682-94DE-4CC3-909F-F660F4FE4942}" dt="2022-09-13T08:21:17.108" v="6920" actId="20577"/>
        <pc:sldMkLst>
          <pc:docMk/>
          <pc:sldMk cId="94231431" sldId="280"/>
        </pc:sldMkLst>
        <pc:spChg chg="mod">
          <ac:chgData name="Alex Theile" userId="78fa646590d237ca" providerId="LiveId" clId="{E14B5682-94DE-4CC3-909F-F660F4FE4942}" dt="2022-09-13T08:21:17.108" v="6920" actId="20577"/>
          <ac:spMkLst>
            <pc:docMk/>
            <pc:sldMk cId="94231431" sldId="280"/>
            <ac:spMk id="7" creationId="{389D999C-EB63-8840-9E76-4E48270B586F}"/>
          </ac:spMkLst>
        </pc:spChg>
      </pc:sldChg>
      <pc:sldChg chg="modNotesTx">
        <pc:chgData name="Alex Theile" userId="78fa646590d237ca" providerId="LiveId" clId="{E14B5682-94DE-4CC3-909F-F660F4FE4942}" dt="2022-09-13T08:24:41.183" v="7025"/>
        <pc:sldMkLst>
          <pc:docMk/>
          <pc:sldMk cId="1825446526" sldId="282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4280494206" sldId="283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2209276582" sldId="284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573988253" sldId="287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702324542" sldId="288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1651194825" sldId="289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4249906545" sldId="290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1649756015" sldId="291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1063052055" sldId="293"/>
        </pc:sldMkLst>
      </pc:sldChg>
      <pc:sldChg chg="del">
        <pc:chgData name="Alex Theile" userId="78fa646590d237ca" providerId="LiveId" clId="{E14B5682-94DE-4CC3-909F-F660F4FE4942}" dt="2022-09-13T07:35:07.753" v="6787" actId="47"/>
        <pc:sldMkLst>
          <pc:docMk/>
          <pc:sldMk cId="2906106928" sldId="294"/>
        </pc:sldMkLst>
      </pc:sldChg>
      <pc:sldChg chg="modSp mod modNotesTx">
        <pc:chgData name="Alex Theile" userId="78fa646590d237ca" providerId="LiveId" clId="{E14B5682-94DE-4CC3-909F-F660F4FE4942}" dt="2022-09-13T08:29:07.817" v="7223" actId="20577"/>
        <pc:sldMkLst>
          <pc:docMk/>
          <pc:sldMk cId="1763989285" sldId="295"/>
        </pc:sldMkLst>
        <pc:spChg chg="mod">
          <ac:chgData name="Alex Theile" userId="78fa646590d237ca" providerId="LiveId" clId="{E14B5682-94DE-4CC3-909F-F660F4FE4942}" dt="2022-09-13T05:02:06.824" v="2300" actId="20577"/>
          <ac:spMkLst>
            <pc:docMk/>
            <pc:sldMk cId="1763989285" sldId="295"/>
            <ac:spMk id="8" creationId="{D4D44C56-CE2A-6F4C-ADAB-8BA7328BEFA5}"/>
          </ac:spMkLst>
        </pc:spChg>
      </pc:sldChg>
      <pc:sldChg chg="modSp mod">
        <pc:chgData name="Alex Theile" userId="78fa646590d237ca" providerId="LiveId" clId="{E14B5682-94DE-4CC3-909F-F660F4FE4942}" dt="2022-09-13T05:09:52.265" v="2419" actId="20577"/>
        <pc:sldMkLst>
          <pc:docMk/>
          <pc:sldMk cId="3988069257" sldId="297"/>
        </pc:sldMkLst>
        <pc:spChg chg="mod">
          <ac:chgData name="Alex Theile" userId="78fa646590d237ca" providerId="LiveId" clId="{E14B5682-94DE-4CC3-909F-F660F4FE4942}" dt="2022-09-12T15:47:55.829" v="456" actId="20577"/>
          <ac:spMkLst>
            <pc:docMk/>
            <pc:sldMk cId="3988069257" sldId="297"/>
            <ac:spMk id="6" creationId="{42363FBE-ABC2-DD47-BC21-18CE9B3ABA26}"/>
          </ac:spMkLst>
        </pc:spChg>
        <pc:spChg chg="mod">
          <ac:chgData name="Alex Theile" userId="78fa646590d237ca" providerId="LiveId" clId="{E14B5682-94DE-4CC3-909F-F660F4FE4942}" dt="2022-09-13T05:09:52.265" v="2419" actId="20577"/>
          <ac:spMkLst>
            <pc:docMk/>
            <pc:sldMk cId="3988069257" sldId="297"/>
            <ac:spMk id="8" creationId="{D4D44C56-CE2A-6F4C-ADAB-8BA7328BEFA5}"/>
          </ac:spMkLst>
        </pc:spChg>
      </pc:sldChg>
      <pc:sldChg chg="modSp mod modNotesTx">
        <pc:chgData name="Alex Theile" userId="78fa646590d237ca" providerId="LiveId" clId="{E14B5682-94DE-4CC3-909F-F660F4FE4942}" dt="2022-09-13T08:36:35.138" v="7389" actId="20577"/>
        <pc:sldMkLst>
          <pc:docMk/>
          <pc:sldMk cId="4284612567" sldId="298"/>
        </pc:sldMkLst>
        <pc:spChg chg="mod">
          <ac:chgData name="Alex Theile" userId="78fa646590d237ca" providerId="LiveId" clId="{E14B5682-94DE-4CC3-909F-F660F4FE4942}" dt="2022-09-12T19:51:41.923" v="525" actId="20577"/>
          <ac:spMkLst>
            <pc:docMk/>
            <pc:sldMk cId="4284612567" sldId="298"/>
            <ac:spMk id="2" creationId="{35010201-3BF6-774F-9CDA-BFACDF061AF3}"/>
          </ac:spMkLst>
        </pc:spChg>
        <pc:spChg chg="mod">
          <ac:chgData name="Alex Theile" userId="78fa646590d237ca" providerId="LiveId" clId="{E14B5682-94DE-4CC3-909F-F660F4FE4942}" dt="2022-09-12T19:51:27.466" v="509" actId="1036"/>
          <ac:spMkLst>
            <pc:docMk/>
            <pc:sldMk cId="4284612567" sldId="298"/>
            <ac:spMk id="8" creationId="{CFCB550C-4E73-4EB8-AFEF-03541181E087}"/>
          </ac:spMkLst>
        </pc:spChg>
        <pc:spChg chg="mod">
          <ac:chgData name="Alex Theile" userId="78fa646590d237ca" providerId="LiveId" clId="{E14B5682-94DE-4CC3-909F-F660F4FE4942}" dt="2022-09-12T19:51:27.466" v="509" actId="1036"/>
          <ac:spMkLst>
            <pc:docMk/>
            <pc:sldMk cId="4284612567" sldId="298"/>
            <ac:spMk id="12" creationId="{2FE7ADB4-A7A3-452E-B1FE-488071DF9D04}"/>
          </ac:spMkLst>
        </pc:spChg>
        <pc:spChg chg="mod">
          <ac:chgData name="Alex Theile" userId="78fa646590d237ca" providerId="LiveId" clId="{E14B5682-94DE-4CC3-909F-F660F4FE4942}" dt="2022-09-12T19:51:27.466" v="509" actId="1036"/>
          <ac:spMkLst>
            <pc:docMk/>
            <pc:sldMk cId="4284612567" sldId="298"/>
            <ac:spMk id="14" creationId="{9D81983A-744A-43D4-9470-CE6C1A6E6109}"/>
          </ac:spMkLst>
        </pc:spChg>
        <pc:graphicFrameChg chg="mod">
          <ac:chgData name="Alex Theile" userId="78fa646590d237ca" providerId="LiveId" clId="{E14B5682-94DE-4CC3-909F-F660F4FE4942}" dt="2022-09-12T19:51:27.466" v="509" actId="1036"/>
          <ac:graphicFrameMkLst>
            <pc:docMk/>
            <pc:sldMk cId="4284612567" sldId="298"/>
            <ac:graphicFrameMk id="7" creationId="{D2B715D7-FB79-4544-8936-9164D7139BE2}"/>
          </ac:graphicFrameMkLst>
        </pc:graphicFrameChg>
        <pc:graphicFrameChg chg="mod">
          <ac:chgData name="Alex Theile" userId="78fa646590d237ca" providerId="LiveId" clId="{E14B5682-94DE-4CC3-909F-F660F4FE4942}" dt="2022-09-12T19:51:27.466" v="509" actId="1036"/>
          <ac:graphicFrameMkLst>
            <pc:docMk/>
            <pc:sldMk cId="4284612567" sldId="298"/>
            <ac:graphicFrameMk id="10" creationId="{C1370F92-C26D-46FC-9599-5F8043B6956E}"/>
          </ac:graphicFrameMkLst>
        </pc:graphicFrameChg>
        <pc:graphicFrameChg chg="mod">
          <ac:chgData name="Alex Theile" userId="78fa646590d237ca" providerId="LiveId" clId="{E14B5682-94DE-4CC3-909F-F660F4FE4942}" dt="2022-09-12T19:51:27.466" v="509" actId="1036"/>
          <ac:graphicFrameMkLst>
            <pc:docMk/>
            <pc:sldMk cId="4284612567" sldId="298"/>
            <ac:graphicFrameMk id="13" creationId="{D7B9CFEA-BA0F-4B2D-A0C1-29BC74A1D571}"/>
          </ac:graphicFrameMkLst>
        </pc:graphicFrameChg>
        <pc:picChg chg="mod">
          <ac:chgData name="Alex Theile" userId="78fa646590d237ca" providerId="LiveId" clId="{E14B5682-94DE-4CC3-909F-F660F4FE4942}" dt="2022-09-12T19:51:52.377" v="526" actId="14100"/>
          <ac:picMkLst>
            <pc:docMk/>
            <pc:sldMk cId="4284612567" sldId="298"/>
            <ac:picMk id="6" creationId="{BFC15AEC-5BA9-4E7C-9222-77FFA069849F}"/>
          </ac:picMkLst>
        </pc:picChg>
      </pc:sldChg>
      <pc:sldChg chg="modSp add mod modNotesTx">
        <pc:chgData name="Alex Theile" userId="78fa646590d237ca" providerId="LiveId" clId="{E14B5682-94DE-4CC3-909F-F660F4FE4942}" dt="2022-09-13T05:21:09.935" v="3359" actId="207"/>
        <pc:sldMkLst>
          <pc:docMk/>
          <pc:sldMk cId="811979661" sldId="299"/>
        </pc:sldMkLst>
        <pc:spChg chg="mod">
          <ac:chgData name="Alex Theile" userId="78fa646590d237ca" providerId="LiveId" clId="{E14B5682-94DE-4CC3-909F-F660F4FE4942}" dt="2022-09-13T05:21:09.935" v="3359" actId="207"/>
          <ac:spMkLst>
            <pc:docMk/>
            <pc:sldMk cId="811979661" sldId="299"/>
            <ac:spMk id="7" creationId="{389D999C-EB63-8840-9E76-4E48270B586F}"/>
          </ac:spMkLst>
        </pc:spChg>
      </pc:sldChg>
      <pc:sldChg chg="addSp delSp modSp add mod modClrScheme chgLayout modNotesTx">
        <pc:chgData name="Alex Theile" userId="78fa646590d237ca" providerId="LiveId" clId="{E14B5682-94DE-4CC3-909F-F660F4FE4942}" dt="2022-09-13T05:17:29.096" v="3134" actId="20577"/>
        <pc:sldMkLst>
          <pc:docMk/>
          <pc:sldMk cId="480917427" sldId="300"/>
        </pc:sldMkLst>
        <pc:spChg chg="mod ord">
          <ac:chgData name="Alex Theile" userId="78fa646590d237ca" providerId="LiveId" clId="{E14B5682-94DE-4CC3-909F-F660F4FE4942}" dt="2022-09-12T20:46:25.804" v="535" actId="26606"/>
          <ac:spMkLst>
            <pc:docMk/>
            <pc:sldMk cId="480917427" sldId="300"/>
            <ac:spMk id="2" creationId="{35010201-3BF6-774F-9CDA-BFACDF061AF3}"/>
          </ac:spMkLst>
        </pc:spChg>
        <pc:spChg chg="add del mod">
          <ac:chgData name="Alex Theile" userId="78fa646590d237ca" providerId="LiveId" clId="{E14B5682-94DE-4CC3-909F-F660F4FE4942}" dt="2022-09-12T20:46:25.804" v="535" actId="26606"/>
          <ac:spMkLst>
            <pc:docMk/>
            <pc:sldMk cId="480917427" sldId="300"/>
            <ac:spMk id="4" creationId="{F7AC5E59-5401-A896-8F2B-1785CC459958}"/>
          </ac:spMkLst>
        </pc:spChg>
        <pc:spChg chg="del mod">
          <ac:chgData name="Alex Theile" userId="78fa646590d237ca" providerId="LiveId" clId="{E14B5682-94DE-4CC3-909F-F660F4FE4942}" dt="2022-09-12T20:46:05.392" v="530" actId="478"/>
          <ac:spMkLst>
            <pc:docMk/>
            <pc:sldMk cId="480917427" sldId="300"/>
            <ac:spMk id="8" creationId="{CFCB550C-4E73-4EB8-AFEF-03541181E087}"/>
          </ac:spMkLst>
        </pc:spChg>
        <pc:spChg chg="del">
          <ac:chgData name="Alex Theile" userId="78fa646590d237ca" providerId="LiveId" clId="{E14B5682-94DE-4CC3-909F-F660F4FE4942}" dt="2022-09-12T20:46:05.392" v="530" actId="478"/>
          <ac:spMkLst>
            <pc:docMk/>
            <pc:sldMk cId="480917427" sldId="300"/>
            <ac:spMk id="9" creationId="{CE1A3A0B-347D-4C16-BF77-5728B2C26A7D}"/>
          </ac:spMkLst>
        </pc:spChg>
        <pc:spChg chg="del">
          <ac:chgData name="Alex Theile" userId="78fa646590d237ca" providerId="LiveId" clId="{E14B5682-94DE-4CC3-909F-F660F4FE4942}" dt="2022-09-12T20:46:05.392" v="530" actId="478"/>
          <ac:spMkLst>
            <pc:docMk/>
            <pc:sldMk cId="480917427" sldId="300"/>
            <ac:spMk id="11" creationId="{4DD72A11-C253-A546-A890-45F4B46BF7F0}"/>
          </ac:spMkLst>
        </pc:spChg>
        <pc:spChg chg="del">
          <ac:chgData name="Alex Theile" userId="78fa646590d237ca" providerId="LiveId" clId="{E14B5682-94DE-4CC3-909F-F660F4FE4942}" dt="2022-09-12T20:46:05.392" v="530" actId="478"/>
          <ac:spMkLst>
            <pc:docMk/>
            <pc:sldMk cId="480917427" sldId="300"/>
            <ac:spMk id="12" creationId="{2FE7ADB4-A7A3-452E-B1FE-488071DF9D04}"/>
          </ac:spMkLst>
        </pc:spChg>
        <pc:spChg chg="del">
          <ac:chgData name="Alex Theile" userId="78fa646590d237ca" providerId="LiveId" clId="{E14B5682-94DE-4CC3-909F-F660F4FE4942}" dt="2022-09-12T20:46:05.392" v="530" actId="478"/>
          <ac:spMkLst>
            <pc:docMk/>
            <pc:sldMk cId="480917427" sldId="300"/>
            <ac:spMk id="14" creationId="{9D81983A-744A-43D4-9470-CE6C1A6E6109}"/>
          </ac:spMkLst>
        </pc:spChg>
        <pc:spChg chg="add del mod">
          <ac:chgData name="Alex Theile" userId="78fa646590d237ca" providerId="LiveId" clId="{E14B5682-94DE-4CC3-909F-F660F4FE4942}" dt="2022-09-12T20:46:25.800" v="534" actId="26606"/>
          <ac:spMkLst>
            <pc:docMk/>
            <pc:sldMk cId="480917427" sldId="300"/>
            <ac:spMk id="28680" creationId="{FD32835D-D098-FF41-6366-053EC72CB4F7}"/>
          </ac:spMkLst>
        </pc:spChg>
        <pc:spChg chg="add mod">
          <ac:chgData name="Alex Theile" userId="78fa646590d237ca" providerId="LiveId" clId="{E14B5682-94DE-4CC3-909F-F660F4FE4942}" dt="2022-09-12T20:46:25.804" v="535" actId="26606"/>
          <ac:spMkLst>
            <pc:docMk/>
            <pc:sldMk cId="480917427" sldId="300"/>
            <ac:spMk id="28682" creationId="{4350D98D-5CA4-C8E0-CDF1-566928576EEC}"/>
          </ac:spMkLst>
        </pc:spChg>
        <pc:graphicFrameChg chg="del">
          <ac:chgData name="Alex Theile" userId="78fa646590d237ca" providerId="LiveId" clId="{E14B5682-94DE-4CC3-909F-F660F4FE4942}" dt="2022-09-12T20:46:05.392" v="530" actId="478"/>
          <ac:graphicFrameMkLst>
            <pc:docMk/>
            <pc:sldMk cId="480917427" sldId="300"/>
            <ac:graphicFrameMk id="7" creationId="{D2B715D7-FB79-4544-8936-9164D7139BE2}"/>
          </ac:graphicFrameMkLst>
        </pc:graphicFrameChg>
        <pc:graphicFrameChg chg="del">
          <ac:chgData name="Alex Theile" userId="78fa646590d237ca" providerId="LiveId" clId="{E14B5682-94DE-4CC3-909F-F660F4FE4942}" dt="2022-09-12T20:46:05.392" v="530" actId="478"/>
          <ac:graphicFrameMkLst>
            <pc:docMk/>
            <pc:sldMk cId="480917427" sldId="300"/>
            <ac:graphicFrameMk id="10" creationId="{C1370F92-C26D-46FC-9599-5F8043B6956E}"/>
          </ac:graphicFrameMkLst>
        </pc:graphicFrameChg>
        <pc:graphicFrameChg chg="del">
          <ac:chgData name="Alex Theile" userId="78fa646590d237ca" providerId="LiveId" clId="{E14B5682-94DE-4CC3-909F-F660F4FE4942}" dt="2022-09-12T20:46:05.392" v="530" actId="478"/>
          <ac:graphicFrameMkLst>
            <pc:docMk/>
            <pc:sldMk cId="480917427" sldId="300"/>
            <ac:graphicFrameMk id="13" creationId="{D7B9CFEA-BA0F-4B2D-A0C1-29BC74A1D571}"/>
          </ac:graphicFrameMkLst>
        </pc:graphicFrameChg>
        <pc:picChg chg="del mod">
          <ac:chgData name="Alex Theile" userId="78fa646590d237ca" providerId="LiveId" clId="{E14B5682-94DE-4CC3-909F-F660F4FE4942}" dt="2022-09-12T20:46:05.392" v="530" actId="478"/>
          <ac:picMkLst>
            <pc:docMk/>
            <pc:sldMk cId="480917427" sldId="300"/>
            <ac:picMk id="6" creationId="{BFC15AEC-5BA9-4E7C-9222-77FFA069849F}"/>
          </ac:picMkLst>
        </pc:picChg>
        <pc:picChg chg="add mod ord">
          <ac:chgData name="Alex Theile" userId="78fa646590d237ca" providerId="LiveId" clId="{E14B5682-94DE-4CC3-909F-F660F4FE4942}" dt="2022-09-12T20:46:48.487" v="540" actId="1076"/>
          <ac:picMkLst>
            <pc:docMk/>
            <pc:sldMk cId="480917427" sldId="300"/>
            <ac:picMk id="28674" creationId="{F6475F8A-1C8F-C2BF-32EB-C38A5250DDEB}"/>
          </ac:picMkLst>
        </pc:picChg>
        <pc:picChg chg="add mod">
          <ac:chgData name="Alex Theile" userId="78fa646590d237ca" providerId="LiveId" clId="{E14B5682-94DE-4CC3-909F-F660F4FE4942}" dt="2022-09-12T20:46:34.855" v="536" actId="1076"/>
          <ac:picMkLst>
            <pc:docMk/>
            <pc:sldMk cId="480917427" sldId="300"/>
            <ac:picMk id="28675" creationId="{F3EE57B9-A3CB-13A3-F01A-A19579A00BAE}"/>
          </ac:picMkLst>
        </pc:picChg>
      </pc:sldChg>
      <pc:sldChg chg="addSp delSp modSp add mod ord modNotesTx">
        <pc:chgData name="Alex Theile" userId="78fa646590d237ca" providerId="LiveId" clId="{E14B5682-94DE-4CC3-909F-F660F4FE4942}" dt="2022-09-13T05:49:25.011" v="4017" actId="1036"/>
        <pc:sldMkLst>
          <pc:docMk/>
          <pc:sldMk cId="3645175626" sldId="301"/>
        </pc:sldMkLst>
        <pc:spChg chg="add del mod">
          <ac:chgData name="Alex Theile" userId="78fa646590d237ca" providerId="LiveId" clId="{E14B5682-94DE-4CC3-909F-F660F4FE4942}" dt="2022-09-12T20:59:20.042" v="1141" actId="478"/>
          <ac:spMkLst>
            <pc:docMk/>
            <pc:sldMk cId="3645175626" sldId="301"/>
            <ac:spMk id="4" creationId="{4870472C-0C5F-1CED-CB8E-3964C378A8CF}"/>
          </ac:spMkLst>
        </pc:spChg>
        <pc:picChg chg="add mod">
          <ac:chgData name="Alex Theile" userId="78fa646590d237ca" providerId="LiveId" clId="{E14B5682-94DE-4CC3-909F-F660F4FE4942}" dt="2022-09-13T05:49:25.011" v="4017" actId="1036"/>
          <ac:picMkLst>
            <pc:docMk/>
            <pc:sldMk cId="3645175626" sldId="301"/>
            <ac:picMk id="6" creationId="{05C8B52E-0094-F0E6-620A-18380EDF4727}"/>
          </ac:picMkLst>
        </pc:picChg>
        <pc:picChg chg="del">
          <ac:chgData name="Alex Theile" userId="78fa646590d237ca" providerId="LiveId" clId="{E14B5682-94DE-4CC3-909F-F660F4FE4942}" dt="2022-09-12T20:47:46.173" v="542" actId="478"/>
          <ac:picMkLst>
            <pc:docMk/>
            <pc:sldMk cId="3645175626" sldId="301"/>
            <ac:picMk id="28674" creationId="{F6475F8A-1C8F-C2BF-32EB-C38A5250DDEB}"/>
          </ac:picMkLst>
        </pc:picChg>
        <pc:picChg chg="del">
          <ac:chgData name="Alex Theile" userId="78fa646590d237ca" providerId="LiveId" clId="{E14B5682-94DE-4CC3-909F-F660F4FE4942}" dt="2022-09-12T20:47:46.173" v="542" actId="478"/>
          <ac:picMkLst>
            <pc:docMk/>
            <pc:sldMk cId="3645175626" sldId="301"/>
            <ac:picMk id="28675" creationId="{F3EE57B9-A3CB-13A3-F01A-A19579A00BAE}"/>
          </ac:picMkLst>
        </pc:picChg>
      </pc:sldChg>
      <pc:sldChg chg="addSp delSp modSp add mod ord modNotesTx">
        <pc:chgData name="Alex Theile" userId="78fa646590d237ca" providerId="LiveId" clId="{E14B5682-94DE-4CC3-909F-F660F4FE4942}" dt="2022-09-13T05:40:42.474" v="3713" actId="14100"/>
        <pc:sldMkLst>
          <pc:docMk/>
          <pc:sldMk cId="2809908677" sldId="302"/>
        </pc:sldMkLst>
        <pc:spChg chg="mod">
          <ac:chgData name="Alex Theile" userId="78fa646590d237ca" providerId="LiveId" clId="{E14B5682-94DE-4CC3-909F-F660F4FE4942}" dt="2022-09-13T05:40:42.474" v="3713" actId="14100"/>
          <ac:spMkLst>
            <pc:docMk/>
            <pc:sldMk cId="2809908677" sldId="302"/>
            <ac:spMk id="2" creationId="{35010201-3BF6-774F-9CDA-BFACDF061AF3}"/>
          </ac:spMkLst>
        </pc:spChg>
        <pc:spChg chg="del">
          <ac:chgData name="Alex Theile" userId="78fa646590d237ca" providerId="LiveId" clId="{E14B5682-94DE-4CC3-909F-F660F4FE4942}" dt="2022-09-12T20:51:01.113" v="784" actId="478"/>
          <ac:spMkLst>
            <pc:docMk/>
            <pc:sldMk cId="2809908677" sldId="302"/>
            <ac:spMk id="4" creationId="{4870472C-0C5F-1CED-CB8E-3964C378A8CF}"/>
          </ac:spMkLst>
        </pc:spChg>
        <pc:picChg chg="add mod">
          <ac:chgData name="Alex Theile" userId="78fa646590d237ca" providerId="LiveId" clId="{E14B5682-94DE-4CC3-909F-F660F4FE4942}" dt="2022-09-12T20:53:40.465" v="919" actId="1076"/>
          <ac:picMkLst>
            <pc:docMk/>
            <pc:sldMk cId="2809908677" sldId="302"/>
            <ac:picMk id="29698" creationId="{69299EA6-8C71-2619-155E-04F34960B3C4}"/>
          </ac:picMkLst>
        </pc:picChg>
      </pc:sldChg>
      <pc:sldChg chg="addSp delSp modSp add mod delAnim modAnim modNotesTx">
        <pc:chgData name="Alex Theile" userId="78fa646590d237ca" providerId="LiveId" clId="{E14B5682-94DE-4CC3-909F-F660F4FE4942}" dt="2022-09-13T08:54:36.864" v="7675" actId="20577"/>
        <pc:sldMkLst>
          <pc:docMk/>
          <pc:sldMk cId="2160536504" sldId="303"/>
        </pc:sldMkLst>
        <pc:spChg chg="mod">
          <ac:chgData name="Alex Theile" userId="78fa646590d237ca" providerId="LiveId" clId="{E14B5682-94DE-4CC3-909F-F660F4FE4942}" dt="2022-09-12T20:58:30.762" v="1139" actId="20577"/>
          <ac:spMkLst>
            <pc:docMk/>
            <pc:sldMk cId="2160536504" sldId="303"/>
            <ac:spMk id="2" creationId="{35010201-3BF6-774F-9CDA-BFACDF061AF3}"/>
          </ac:spMkLst>
        </pc:spChg>
        <pc:spChg chg="del mod">
          <ac:chgData name="Alex Theile" userId="78fa646590d237ca" providerId="LiveId" clId="{E14B5682-94DE-4CC3-909F-F660F4FE4942}" dt="2022-09-13T06:49:44.967" v="5652"/>
          <ac:spMkLst>
            <pc:docMk/>
            <pc:sldMk cId="2160536504" sldId="303"/>
            <ac:spMk id="4" creationId="{4870472C-0C5F-1CED-CB8E-3964C378A8CF}"/>
          </ac:spMkLst>
        </pc:spChg>
        <pc:spChg chg="add mod">
          <ac:chgData name="Alex Theile" userId="78fa646590d237ca" providerId="LiveId" clId="{E14B5682-94DE-4CC3-909F-F660F4FE4942}" dt="2022-09-13T06:54:08.232" v="5753" actId="1076"/>
          <ac:spMkLst>
            <pc:docMk/>
            <pc:sldMk cId="2160536504" sldId="303"/>
            <ac:spMk id="5" creationId="{2515D4A9-D5DD-9110-B48D-616AD769D12A}"/>
          </ac:spMkLst>
        </pc:spChg>
        <pc:spChg chg="add mod">
          <ac:chgData name="Alex Theile" userId="78fa646590d237ca" providerId="LiveId" clId="{E14B5682-94DE-4CC3-909F-F660F4FE4942}" dt="2022-09-13T07:32:13.487" v="6778" actId="1076"/>
          <ac:spMkLst>
            <pc:docMk/>
            <pc:sldMk cId="2160536504" sldId="303"/>
            <ac:spMk id="6" creationId="{BF936631-2D42-1E91-CB29-48D9C97F7424}"/>
          </ac:spMkLst>
        </pc:spChg>
        <pc:spChg chg="add mod">
          <ac:chgData name="Alex Theile" userId="78fa646590d237ca" providerId="LiveId" clId="{E14B5682-94DE-4CC3-909F-F660F4FE4942}" dt="2022-09-13T07:16:02.569" v="6536" actId="1036"/>
          <ac:spMkLst>
            <pc:docMk/>
            <pc:sldMk cId="2160536504" sldId="303"/>
            <ac:spMk id="8" creationId="{C74DBFB1-D8B9-4CA7-5E14-159FB9BE0313}"/>
          </ac:spMkLst>
        </pc:spChg>
        <pc:spChg chg="add mod">
          <ac:chgData name="Alex Theile" userId="78fa646590d237ca" providerId="LiveId" clId="{E14B5682-94DE-4CC3-909F-F660F4FE4942}" dt="2022-09-13T07:32:20.899" v="6779" actId="1076"/>
          <ac:spMkLst>
            <pc:docMk/>
            <pc:sldMk cId="2160536504" sldId="303"/>
            <ac:spMk id="10" creationId="{AA052F01-297B-0960-7956-E43671F06921}"/>
          </ac:spMkLst>
        </pc:spChg>
        <pc:spChg chg="add mod">
          <ac:chgData name="Alex Theile" userId="78fa646590d237ca" providerId="LiveId" clId="{E14B5682-94DE-4CC3-909F-F660F4FE4942}" dt="2022-09-13T07:16:34.781" v="6558"/>
          <ac:spMkLst>
            <pc:docMk/>
            <pc:sldMk cId="2160536504" sldId="303"/>
            <ac:spMk id="12" creationId="{A933B500-325C-F268-7163-61496F7477DC}"/>
          </ac:spMkLst>
        </pc:spChg>
        <pc:spChg chg="add mod">
          <ac:chgData name="Alex Theile" userId="78fa646590d237ca" providerId="LiveId" clId="{E14B5682-94DE-4CC3-909F-F660F4FE4942}" dt="2022-09-13T07:21:18.639" v="6634" actId="1076"/>
          <ac:spMkLst>
            <pc:docMk/>
            <pc:sldMk cId="2160536504" sldId="303"/>
            <ac:spMk id="13" creationId="{3C6A133A-9C98-8A93-2EA0-B690AE9888E5}"/>
          </ac:spMkLst>
        </pc:spChg>
        <pc:spChg chg="add del mod">
          <ac:chgData name="Alex Theile" userId="78fa646590d237ca" providerId="LiveId" clId="{E14B5682-94DE-4CC3-909F-F660F4FE4942}" dt="2022-09-13T07:25:32.752" v="6685" actId="478"/>
          <ac:spMkLst>
            <pc:docMk/>
            <pc:sldMk cId="2160536504" sldId="303"/>
            <ac:spMk id="14" creationId="{56A5DDAD-B85B-E77B-BAA5-01F4723D50A9}"/>
          </ac:spMkLst>
        </pc:spChg>
        <pc:spChg chg="add del mod">
          <ac:chgData name="Alex Theile" userId="78fa646590d237ca" providerId="LiveId" clId="{E14B5682-94DE-4CC3-909F-F660F4FE4942}" dt="2022-09-13T07:25:42.543" v="6690" actId="478"/>
          <ac:spMkLst>
            <pc:docMk/>
            <pc:sldMk cId="2160536504" sldId="303"/>
            <ac:spMk id="16" creationId="{9E03DACE-6FE9-E2B7-517E-E2EB6A131553}"/>
          </ac:spMkLst>
        </pc:spChg>
        <pc:spChg chg="add del mod">
          <ac:chgData name="Alex Theile" userId="78fa646590d237ca" providerId="LiveId" clId="{E14B5682-94DE-4CC3-909F-F660F4FE4942}" dt="2022-09-13T07:25:31.317" v="6684" actId="478"/>
          <ac:spMkLst>
            <pc:docMk/>
            <pc:sldMk cId="2160536504" sldId="303"/>
            <ac:spMk id="17" creationId="{A24718BE-0F51-162E-773B-C97CC7C059EF}"/>
          </ac:spMkLst>
        </pc:spChg>
        <pc:spChg chg="add del mod">
          <ac:chgData name="Alex Theile" userId="78fa646590d237ca" providerId="LiveId" clId="{E14B5682-94DE-4CC3-909F-F660F4FE4942}" dt="2022-09-13T07:25:40.998" v="6689" actId="478"/>
          <ac:spMkLst>
            <pc:docMk/>
            <pc:sldMk cId="2160536504" sldId="303"/>
            <ac:spMk id="18" creationId="{FD182B23-FA2A-2042-FEA6-90950DF3CCC7}"/>
          </ac:spMkLst>
        </pc:spChg>
        <pc:spChg chg="add del mod">
          <ac:chgData name="Alex Theile" userId="78fa646590d237ca" providerId="LiveId" clId="{E14B5682-94DE-4CC3-909F-F660F4FE4942}" dt="2022-09-13T07:25:29.814" v="6683" actId="478"/>
          <ac:spMkLst>
            <pc:docMk/>
            <pc:sldMk cId="2160536504" sldId="303"/>
            <ac:spMk id="19" creationId="{9A01AB5E-9F04-58AD-DCC7-8658AF39CA2C}"/>
          </ac:spMkLst>
        </pc:spChg>
        <pc:spChg chg="add del mod">
          <ac:chgData name="Alex Theile" userId="78fa646590d237ca" providerId="LiveId" clId="{E14B5682-94DE-4CC3-909F-F660F4FE4942}" dt="2022-09-13T07:25:39.349" v="6688" actId="478"/>
          <ac:spMkLst>
            <pc:docMk/>
            <pc:sldMk cId="2160536504" sldId="303"/>
            <ac:spMk id="20" creationId="{A466BAC7-747F-D23C-3927-BACAF40B0977}"/>
          </ac:spMkLst>
        </pc:spChg>
        <pc:spChg chg="add del mod">
          <ac:chgData name="Alex Theile" userId="78fa646590d237ca" providerId="LiveId" clId="{E14B5682-94DE-4CC3-909F-F660F4FE4942}" dt="2022-09-13T07:25:02.170" v="6674" actId="478"/>
          <ac:spMkLst>
            <pc:docMk/>
            <pc:sldMk cId="2160536504" sldId="303"/>
            <ac:spMk id="22" creationId="{E2C37E94-8EB5-A5A7-3B18-62753EC33303}"/>
          </ac:spMkLst>
        </pc:spChg>
        <pc:spChg chg="add del mod">
          <ac:chgData name="Alex Theile" userId="78fa646590d237ca" providerId="LiveId" clId="{E14B5682-94DE-4CC3-909F-F660F4FE4942}" dt="2022-09-13T07:25:28.076" v="6682" actId="478"/>
          <ac:spMkLst>
            <pc:docMk/>
            <pc:sldMk cId="2160536504" sldId="303"/>
            <ac:spMk id="23" creationId="{0B453B87-8916-22E6-25C8-F805DCC19EEE}"/>
          </ac:spMkLst>
        </pc:spChg>
        <pc:spChg chg="add mod">
          <ac:chgData name="Alex Theile" userId="78fa646590d237ca" providerId="LiveId" clId="{E14B5682-94DE-4CC3-909F-F660F4FE4942}" dt="2022-09-13T07:28:03.672" v="6761" actId="1076"/>
          <ac:spMkLst>
            <pc:docMk/>
            <pc:sldMk cId="2160536504" sldId="303"/>
            <ac:spMk id="24" creationId="{A207DC9C-CAA3-57D8-557F-E21BDE8D19A9}"/>
          </ac:spMkLst>
        </pc:spChg>
        <pc:spChg chg="add del mod">
          <ac:chgData name="Alex Theile" userId="78fa646590d237ca" providerId="LiveId" clId="{E14B5682-94DE-4CC3-909F-F660F4FE4942}" dt="2022-09-13T07:25:35.893" v="6686" actId="478"/>
          <ac:spMkLst>
            <pc:docMk/>
            <pc:sldMk cId="2160536504" sldId="303"/>
            <ac:spMk id="25" creationId="{7B3FA6E5-3AEC-5217-81A1-B970D198796B}"/>
          </ac:spMkLst>
        </pc:spChg>
        <pc:spChg chg="add mod">
          <ac:chgData name="Alex Theile" userId="78fa646590d237ca" providerId="LiveId" clId="{E14B5682-94DE-4CC3-909F-F660F4FE4942}" dt="2022-09-13T07:25:47.945" v="6691" actId="1076"/>
          <ac:spMkLst>
            <pc:docMk/>
            <pc:sldMk cId="2160536504" sldId="303"/>
            <ac:spMk id="26" creationId="{B42986EF-9727-7921-9CAC-B8545DA1A92C}"/>
          </ac:spMkLst>
        </pc:spChg>
        <pc:spChg chg="add del mod">
          <ac:chgData name="Alex Theile" userId="78fa646590d237ca" providerId="LiveId" clId="{E14B5682-94DE-4CC3-909F-F660F4FE4942}" dt="2022-09-13T07:25:15.163" v="6679" actId="478"/>
          <ac:spMkLst>
            <pc:docMk/>
            <pc:sldMk cId="2160536504" sldId="303"/>
            <ac:spMk id="27" creationId="{F76C32D1-EBBE-4531-3054-AD43FCFA2151}"/>
          </ac:spMkLst>
        </pc:spChg>
        <pc:spChg chg="add del mod">
          <ac:chgData name="Alex Theile" userId="78fa646590d237ca" providerId="LiveId" clId="{E14B5682-94DE-4CC3-909F-F660F4FE4942}" dt="2022-09-13T07:25:08.215" v="6676" actId="478"/>
          <ac:spMkLst>
            <pc:docMk/>
            <pc:sldMk cId="2160536504" sldId="303"/>
            <ac:spMk id="28" creationId="{861E20E7-F5D8-E01E-0AB7-7672A8A62BFD}"/>
          </ac:spMkLst>
        </pc:spChg>
        <pc:spChg chg="add mod">
          <ac:chgData name="Alex Theile" userId="78fa646590d237ca" providerId="LiveId" clId="{E14B5682-94DE-4CC3-909F-F660F4FE4942}" dt="2022-09-13T07:25:57.789" v="6694" actId="688"/>
          <ac:spMkLst>
            <pc:docMk/>
            <pc:sldMk cId="2160536504" sldId="303"/>
            <ac:spMk id="29" creationId="{9021E7A6-CD81-E6D1-AFF6-AD87A3F9C7B6}"/>
          </ac:spMkLst>
        </pc:spChg>
        <pc:spChg chg="add mod">
          <ac:chgData name="Alex Theile" userId="78fa646590d237ca" providerId="LiveId" clId="{E14B5682-94DE-4CC3-909F-F660F4FE4942}" dt="2022-09-13T07:27:21.308" v="6760" actId="1037"/>
          <ac:spMkLst>
            <pc:docMk/>
            <pc:sldMk cId="2160536504" sldId="303"/>
            <ac:spMk id="30" creationId="{ABDF5640-6301-E58A-0038-66666BE61315}"/>
          </ac:spMkLst>
        </pc:spChg>
        <pc:spChg chg="add mod">
          <ac:chgData name="Alex Theile" userId="78fa646590d237ca" providerId="LiveId" clId="{E14B5682-94DE-4CC3-909F-F660F4FE4942}" dt="2022-09-13T07:27:15.452" v="6744" actId="1037"/>
          <ac:spMkLst>
            <pc:docMk/>
            <pc:sldMk cId="2160536504" sldId="303"/>
            <ac:spMk id="31" creationId="{6FD857F5-5971-95AD-1E58-AF47430DE03E}"/>
          </ac:spMkLst>
        </pc:spChg>
        <pc:spChg chg="add mod">
          <ac:chgData name="Alex Theile" userId="78fa646590d237ca" providerId="LiveId" clId="{E14B5682-94DE-4CC3-909F-F660F4FE4942}" dt="2022-09-13T07:27:06.218" v="6722" actId="1036"/>
          <ac:spMkLst>
            <pc:docMk/>
            <pc:sldMk cId="2160536504" sldId="303"/>
            <ac:spMk id="32" creationId="{10184A66-B2EF-2586-6E2F-AA251047DAC0}"/>
          </ac:spMkLst>
        </pc:spChg>
        <pc:spChg chg="add mod">
          <ac:chgData name="Alex Theile" userId="78fa646590d237ca" providerId="LiveId" clId="{E14B5682-94DE-4CC3-909F-F660F4FE4942}" dt="2022-09-13T07:26:59.565" v="6707" actId="1076"/>
          <ac:spMkLst>
            <pc:docMk/>
            <pc:sldMk cId="2160536504" sldId="303"/>
            <ac:spMk id="33" creationId="{660C90F1-2D73-73B3-9ABA-E833A2C3A66A}"/>
          </ac:spMkLst>
        </pc:spChg>
        <pc:grpChg chg="add mod">
          <ac:chgData name="Alex Theile" userId="78fa646590d237ca" providerId="LiveId" clId="{E14B5682-94DE-4CC3-909F-F660F4FE4942}" dt="2022-09-13T07:21:24.457" v="6635" actId="1076"/>
          <ac:grpSpMkLst>
            <pc:docMk/>
            <pc:sldMk cId="2160536504" sldId="303"/>
            <ac:grpSpMk id="11" creationId="{0D21F6B1-518D-7B38-6486-265AA58A25E7}"/>
          </ac:grpSpMkLst>
        </pc:grpChg>
        <pc:graphicFrameChg chg="add mod modGraphic">
          <ac:chgData name="Alex Theile" userId="78fa646590d237ca" providerId="LiveId" clId="{E14B5682-94DE-4CC3-909F-F660F4FE4942}" dt="2022-09-13T08:53:53.711" v="7630" actId="20577"/>
          <ac:graphicFrameMkLst>
            <pc:docMk/>
            <pc:sldMk cId="2160536504" sldId="303"/>
            <ac:graphicFrameMk id="3" creationId="{622664AA-6E77-1AA2-C052-44211E180E53}"/>
          </ac:graphicFrameMkLst>
        </pc:graphicFrameChg>
      </pc:sldChg>
      <pc:sldChg chg="add ord">
        <pc:chgData name="Alex Theile" userId="78fa646590d237ca" providerId="LiveId" clId="{E14B5682-94DE-4CC3-909F-F660F4FE4942}" dt="2022-09-13T05:46:36.562" v="3715"/>
        <pc:sldMkLst>
          <pc:docMk/>
          <pc:sldMk cId="2967711413" sldId="304"/>
        </pc:sldMkLst>
      </pc:sldChg>
      <pc:sldChg chg="addSp delSp modSp add mod modClrScheme chgLayout modNotesTx">
        <pc:chgData name="Alex Theile" userId="78fa646590d237ca" providerId="LiveId" clId="{E14B5682-94DE-4CC3-909F-F660F4FE4942}" dt="2022-09-13T05:55:59.859" v="4315" actId="20577"/>
        <pc:sldMkLst>
          <pc:docMk/>
          <pc:sldMk cId="3244868808" sldId="305"/>
        </pc:sldMkLst>
        <pc:spChg chg="mod">
          <ac:chgData name="Alex Theile" userId="78fa646590d237ca" providerId="LiveId" clId="{E14B5682-94DE-4CC3-909F-F660F4FE4942}" dt="2022-09-12T21:02:01.563" v="1240" actId="20577"/>
          <ac:spMkLst>
            <pc:docMk/>
            <pc:sldMk cId="3244868808" sldId="305"/>
            <ac:spMk id="2" creationId="{35010201-3BF6-774F-9CDA-BFACDF061AF3}"/>
          </ac:spMkLst>
        </pc:spChg>
        <pc:spChg chg="mod">
          <ac:chgData name="Alex Theile" userId="78fa646590d237ca" providerId="LiveId" clId="{E14B5682-94DE-4CC3-909F-F660F4FE4942}" dt="2022-09-12T21:00:40.719" v="1161" actId="26606"/>
          <ac:spMkLst>
            <pc:docMk/>
            <pc:sldMk cId="3244868808" sldId="305"/>
            <ac:spMk id="28682" creationId="{4350D98D-5CA4-C8E0-CDF1-566928576EEC}"/>
          </ac:spMkLst>
        </pc:spChg>
        <pc:picChg chg="del">
          <ac:chgData name="Alex Theile" userId="78fa646590d237ca" providerId="LiveId" clId="{E14B5682-94DE-4CC3-909F-F660F4FE4942}" dt="2022-09-12T21:00:32.913" v="1159" actId="478"/>
          <ac:picMkLst>
            <pc:docMk/>
            <pc:sldMk cId="3244868808" sldId="305"/>
            <ac:picMk id="6" creationId="{05C8B52E-0094-F0E6-620A-18380EDF4727}"/>
          </ac:picMkLst>
        </pc:picChg>
        <pc:picChg chg="add mod ord">
          <ac:chgData name="Alex Theile" userId="78fa646590d237ca" providerId="LiveId" clId="{E14B5682-94DE-4CC3-909F-F660F4FE4942}" dt="2022-09-12T21:02:41.824" v="1244" actId="14100"/>
          <ac:picMkLst>
            <pc:docMk/>
            <pc:sldMk cId="3244868808" sldId="305"/>
            <ac:picMk id="30722" creationId="{68334648-13F6-FE40-4D11-0870D9B7741E}"/>
          </ac:picMkLst>
        </pc:picChg>
        <pc:picChg chg="add mod">
          <ac:chgData name="Alex Theile" userId="78fa646590d237ca" providerId="LiveId" clId="{E14B5682-94DE-4CC3-909F-F660F4FE4942}" dt="2022-09-12T21:02:25.805" v="1243" actId="1076"/>
          <ac:picMkLst>
            <pc:docMk/>
            <pc:sldMk cId="3244868808" sldId="305"/>
            <ac:picMk id="30723" creationId="{04FD8604-2FDC-FD71-6251-BE37396ED320}"/>
          </ac:picMkLst>
        </pc:picChg>
      </pc:sldChg>
      <pc:sldChg chg="modSp add del mod ord">
        <pc:chgData name="Alex Theile" userId="78fa646590d237ca" providerId="LiveId" clId="{E14B5682-94DE-4CC3-909F-F660F4FE4942}" dt="2022-09-13T11:20:22.368" v="7679" actId="47"/>
        <pc:sldMkLst>
          <pc:docMk/>
          <pc:sldMk cId="3317346515" sldId="306"/>
        </pc:sldMkLst>
        <pc:spChg chg="mod">
          <ac:chgData name="Alex Theile" userId="78fa646590d237ca" providerId="LiveId" clId="{E14B5682-94DE-4CC3-909F-F660F4FE4942}" dt="2022-09-13T04:47:31.023" v="2282" actId="20577"/>
          <ac:spMkLst>
            <pc:docMk/>
            <pc:sldMk cId="3317346515" sldId="306"/>
            <ac:spMk id="2" creationId="{35010201-3BF6-774F-9CDA-BFACDF061AF3}"/>
          </ac:spMkLst>
        </pc:spChg>
        <pc:spChg chg="mod">
          <ac:chgData name="Alex Theile" userId="78fa646590d237ca" providerId="LiveId" clId="{E14B5682-94DE-4CC3-909F-F660F4FE4942}" dt="2022-09-12T21:17:15.780" v="2259" actId="1035"/>
          <ac:spMkLst>
            <pc:docMk/>
            <pc:sldMk cId="3317346515" sldId="306"/>
            <ac:spMk id="4" creationId="{4870472C-0C5F-1CED-CB8E-3964C378A8CF}"/>
          </ac:spMkLst>
        </pc:spChg>
      </pc:sldChg>
      <pc:sldChg chg="modSp add del mod">
        <pc:chgData name="Alex Theile" userId="78fa646590d237ca" providerId="LiveId" clId="{E14B5682-94DE-4CC3-909F-F660F4FE4942}" dt="2022-09-13T07:35:07.753" v="6787" actId="47"/>
        <pc:sldMkLst>
          <pc:docMk/>
          <pc:sldMk cId="3227766361" sldId="307"/>
        </pc:sldMkLst>
        <pc:spChg chg="mod">
          <ac:chgData name="Alex Theile" userId="78fa646590d237ca" providerId="LiveId" clId="{E14B5682-94DE-4CC3-909F-F660F4FE4942}" dt="2022-09-12T21:17:50.207" v="2265" actId="20577"/>
          <ac:spMkLst>
            <pc:docMk/>
            <pc:sldMk cId="3227766361" sldId="307"/>
            <ac:spMk id="4" creationId="{4870472C-0C5F-1CED-CB8E-3964C378A8CF}"/>
          </ac:spMkLst>
        </pc:spChg>
      </pc:sldChg>
      <pc:sldChg chg="delSp modSp add mod modNotesTx">
        <pc:chgData name="Alex Theile" userId="78fa646590d237ca" providerId="LiveId" clId="{E14B5682-94DE-4CC3-909F-F660F4FE4942}" dt="2022-09-13T08:34:56.717" v="7345" actId="20577"/>
        <pc:sldMkLst>
          <pc:docMk/>
          <pc:sldMk cId="0" sldId="308"/>
        </pc:sldMkLst>
        <pc:spChg chg="mod">
          <ac:chgData name="Alex Theile" userId="78fa646590d237ca" providerId="LiveId" clId="{E14B5682-94DE-4CC3-909F-F660F4FE4942}" dt="2022-09-13T08:34:18.431" v="7248" actId="1076"/>
          <ac:spMkLst>
            <pc:docMk/>
            <pc:sldMk cId="0" sldId="308"/>
            <ac:spMk id="157" creationId="{00000000-0000-0000-0000-000000000000}"/>
          </ac:spMkLst>
        </pc:spChg>
        <pc:spChg chg="del">
          <ac:chgData name="Alex Theile" userId="78fa646590d237ca" providerId="LiveId" clId="{E14B5682-94DE-4CC3-909F-F660F4FE4942}" dt="2022-09-13T04:52:31.598" v="2292" actId="478"/>
          <ac:spMkLst>
            <pc:docMk/>
            <pc:sldMk cId="0" sldId="308"/>
            <ac:spMk id="175" creationId="{00000000-0000-0000-0000-000000000000}"/>
          </ac:spMkLst>
        </pc:spChg>
      </pc:sldChg>
      <pc:sldChg chg="modSp add mod">
        <pc:chgData name="Alex Theile" userId="78fa646590d237ca" providerId="LiveId" clId="{E14B5682-94DE-4CC3-909F-F660F4FE4942}" dt="2022-09-13T08:32:13.586" v="7247" actId="20577"/>
        <pc:sldMkLst>
          <pc:docMk/>
          <pc:sldMk cId="698984302" sldId="309"/>
        </pc:sldMkLst>
        <pc:spChg chg="mod">
          <ac:chgData name="Alex Theile" userId="78fa646590d237ca" providerId="LiveId" clId="{E14B5682-94DE-4CC3-909F-F660F4FE4942}" dt="2022-09-13T08:32:13.586" v="7247" actId="20577"/>
          <ac:spMkLst>
            <pc:docMk/>
            <pc:sldMk cId="698984302" sldId="309"/>
            <ac:spMk id="8" creationId="{D4D44C56-CE2A-6F4C-ADAB-8BA7328BEFA5}"/>
          </ac:spMkLst>
        </pc:spChg>
      </pc:sldChg>
      <pc:sldChg chg="modSp add mod">
        <pc:chgData name="Alex Theile" userId="78fa646590d237ca" providerId="LiveId" clId="{E14B5682-94DE-4CC3-909F-F660F4FE4942}" dt="2022-09-13T05:20:55.652" v="3358" actId="207"/>
        <pc:sldMkLst>
          <pc:docMk/>
          <pc:sldMk cId="2355979385" sldId="310"/>
        </pc:sldMkLst>
        <pc:spChg chg="mod">
          <ac:chgData name="Alex Theile" userId="78fa646590d237ca" providerId="LiveId" clId="{E14B5682-94DE-4CC3-909F-F660F4FE4942}" dt="2022-09-13T05:20:55.652" v="3358" actId="207"/>
          <ac:spMkLst>
            <pc:docMk/>
            <pc:sldMk cId="2355979385" sldId="310"/>
            <ac:spMk id="7" creationId="{389D999C-EB63-8840-9E76-4E48270B586F}"/>
          </ac:spMkLst>
        </pc:spChg>
      </pc:sldChg>
      <pc:sldChg chg="addSp delSp modSp add mod modNotesTx">
        <pc:chgData name="Alex Theile" userId="78fa646590d237ca" providerId="LiveId" clId="{E14B5682-94DE-4CC3-909F-F660F4FE4942}" dt="2022-09-13T08:39:58.219" v="7485" actId="20577"/>
        <pc:sldMkLst>
          <pc:docMk/>
          <pc:sldMk cId="1834097431" sldId="311"/>
        </pc:sldMkLst>
        <pc:spChg chg="mod">
          <ac:chgData name="Alex Theile" userId="78fa646590d237ca" providerId="LiveId" clId="{E14B5682-94DE-4CC3-909F-F660F4FE4942}" dt="2022-09-13T05:29:33.437" v="3379" actId="20577"/>
          <ac:spMkLst>
            <pc:docMk/>
            <pc:sldMk cId="1834097431" sldId="311"/>
            <ac:spMk id="2" creationId="{35010201-3BF6-774F-9CDA-BFACDF061AF3}"/>
          </ac:spMkLst>
        </pc:spChg>
        <pc:picChg chg="add mod">
          <ac:chgData name="Alex Theile" userId="78fa646590d237ca" providerId="LiveId" clId="{E14B5682-94DE-4CC3-909F-F660F4FE4942}" dt="2022-09-13T05:30:18.545" v="3388" actId="14100"/>
          <ac:picMkLst>
            <pc:docMk/>
            <pc:sldMk cId="1834097431" sldId="311"/>
            <ac:picMk id="3" creationId="{9E2873B9-06F9-DDD2-B7A7-3957343CA1A9}"/>
          </ac:picMkLst>
        </pc:picChg>
        <pc:picChg chg="add mod">
          <ac:chgData name="Alex Theile" userId="78fa646590d237ca" providerId="LiveId" clId="{E14B5682-94DE-4CC3-909F-F660F4FE4942}" dt="2022-09-13T05:30:14.012" v="3387" actId="1076"/>
          <ac:picMkLst>
            <pc:docMk/>
            <pc:sldMk cId="1834097431" sldId="311"/>
            <ac:picMk id="4" creationId="{5749F405-19F9-32D0-09EA-4D50763DD012}"/>
          </ac:picMkLst>
        </pc:picChg>
        <pc:picChg chg="del">
          <ac:chgData name="Alex Theile" userId="78fa646590d237ca" providerId="LiveId" clId="{E14B5682-94DE-4CC3-909F-F660F4FE4942}" dt="2022-09-13T05:29:27.437" v="3361" actId="478"/>
          <ac:picMkLst>
            <pc:docMk/>
            <pc:sldMk cId="1834097431" sldId="311"/>
            <ac:picMk id="30722" creationId="{68334648-13F6-FE40-4D11-0870D9B7741E}"/>
          </ac:picMkLst>
        </pc:picChg>
        <pc:picChg chg="del">
          <ac:chgData name="Alex Theile" userId="78fa646590d237ca" providerId="LiveId" clId="{E14B5682-94DE-4CC3-909F-F660F4FE4942}" dt="2022-09-13T05:29:56.817" v="3384" actId="478"/>
          <ac:picMkLst>
            <pc:docMk/>
            <pc:sldMk cId="1834097431" sldId="311"/>
            <ac:picMk id="30723" creationId="{04FD8604-2FDC-FD71-6251-BE37396ED320}"/>
          </ac:picMkLst>
        </pc:picChg>
      </pc:sldChg>
      <pc:sldChg chg="addSp delSp modSp add mod modNotesTx">
        <pc:chgData name="Alex Theile" userId="78fa646590d237ca" providerId="LiveId" clId="{E14B5682-94DE-4CC3-909F-F660F4FE4942}" dt="2022-09-13T06:34:47.771" v="4749"/>
        <pc:sldMkLst>
          <pc:docMk/>
          <pc:sldMk cId="3092926485" sldId="312"/>
        </pc:sldMkLst>
        <pc:spChg chg="add mod">
          <ac:chgData name="Alex Theile" userId="78fa646590d237ca" providerId="LiveId" clId="{E14B5682-94DE-4CC3-909F-F660F4FE4942}" dt="2022-09-13T05:30:51.927" v="3393" actId="1076"/>
          <ac:spMkLst>
            <pc:docMk/>
            <pc:sldMk cId="3092926485" sldId="312"/>
            <ac:spMk id="6" creationId="{9A3796E5-643B-8079-31EB-08D0A9CD8AAD}"/>
          </ac:spMkLst>
        </pc:spChg>
        <pc:spChg chg="mod">
          <ac:chgData name="Alex Theile" userId="78fa646590d237ca" providerId="LiveId" clId="{E14B5682-94DE-4CC3-909F-F660F4FE4942}" dt="2022-09-13T06:34:41.261" v="4747"/>
          <ac:spMkLst>
            <pc:docMk/>
            <pc:sldMk cId="3092926485" sldId="312"/>
            <ac:spMk id="10" creationId="{4B1D0507-131A-B28D-FD12-A49AB2CC448F}"/>
          </ac:spMkLst>
        </pc:spChg>
        <pc:spChg chg="add mod">
          <ac:chgData name="Alex Theile" userId="78fa646590d237ca" providerId="LiveId" clId="{E14B5682-94DE-4CC3-909F-F660F4FE4942}" dt="2022-09-13T06:34:47.771" v="4749"/>
          <ac:spMkLst>
            <pc:docMk/>
            <pc:sldMk cId="3092926485" sldId="312"/>
            <ac:spMk id="13" creationId="{506D5E24-B4B6-C74D-EFD5-E38D53502B18}"/>
          </ac:spMkLst>
        </pc:spChg>
        <pc:picChg chg="del">
          <ac:chgData name="Alex Theile" userId="78fa646590d237ca" providerId="LiveId" clId="{E14B5682-94DE-4CC3-909F-F660F4FE4942}" dt="2022-09-13T05:30:45.062" v="3390" actId="478"/>
          <ac:picMkLst>
            <pc:docMk/>
            <pc:sldMk cId="3092926485" sldId="312"/>
            <ac:picMk id="3" creationId="{9E2873B9-06F9-DDD2-B7A7-3957343CA1A9}"/>
          </ac:picMkLst>
        </pc:picChg>
        <pc:picChg chg="del">
          <ac:chgData name="Alex Theile" userId="78fa646590d237ca" providerId="LiveId" clId="{E14B5682-94DE-4CC3-909F-F660F4FE4942}" dt="2022-09-13T05:30:47.255" v="3391" actId="478"/>
          <ac:picMkLst>
            <pc:docMk/>
            <pc:sldMk cId="3092926485" sldId="312"/>
            <ac:picMk id="4" creationId="{5749F405-19F9-32D0-09EA-4D50763DD012}"/>
          </ac:picMkLst>
        </pc:picChg>
        <pc:picChg chg="add mod">
          <ac:chgData name="Alex Theile" userId="78fa646590d237ca" providerId="LiveId" clId="{E14B5682-94DE-4CC3-909F-F660F4FE4942}" dt="2022-09-13T05:34:45.684" v="3396" actId="1076"/>
          <ac:picMkLst>
            <pc:docMk/>
            <pc:sldMk cId="3092926485" sldId="312"/>
            <ac:picMk id="5" creationId="{E339AE51-36F4-356F-2408-BCDDA6173D49}"/>
          </ac:picMkLst>
        </pc:picChg>
        <pc:picChg chg="add mod">
          <ac:chgData name="Alex Theile" userId="78fa646590d237ca" providerId="LiveId" clId="{E14B5682-94DE-4CC3-909F-F660F4FE4942}" dt="2022-09-13T05:34:51.343" v="3397" actId="1076"/>
          <ac:picMkLst>
            <pc:docMk/>
            <pc:sldMk cId="3092926485" sldId="312"/>
            <ac:picMk id="7" creationId="{AF01F1B4-F62B-2CE5-CF0A-54E2CE4B6130}"/>
          </ac:picMkLst>
        </pc:picChg>
        <pc:picChg chg="mod">
          <ac:chgData name="Alex Theile" userId="78fa646590d237ca" providerId="LiveId" clId="{E14B5682-94DE-4CC3-909F-F660F4FE4942}" dt="2022-09-13T06:34:41.261" v="4747"/>
          <ac:picMkLst>
            <pc:docMk/>
            <pc:sldMk cId="3092926485" sldId="312"/>
            <ac:picMk id="8" creationId="{F048FAE5-E1D8-9E7D-CC2C-477A965224DD}"/>
          </ac:picMkLst>
        </pc:picChg>
        <pc:picChg chg="mod">
          <ac:chgData name="Alex Theile" userId="78fa646590d237ca" providerId="LiveId" clId="{E14B5682-94DE-4CC3-909F-F660F4FE4942}" dt="2022-09-13T06:34:41.261" v="4747"/>
          <ac:picMkLst>
            <pc:docMk/>
            <pc:sldMk cId="3092926485" sldId="312"/>
            <ac:picMk id="9" creationId="{9BAD1871-D9D9-A482-C546-0B6AD6F2F13C}"/>
          </ac:picMkLst>
        </pc:picChg>
        <pc:picChg chg="add mod">
          <ac:chgData name="Alex Theile" userId="78fa646590d237ca" providerId="LiveId" clId="{E14B5682-94DE-4CC3-909F-F660F4FE4942}" dt="2022-09-13T06:34:47.771" v="4749"/>
          <ac:picMkLst>
            <pc:docMk/>
            <pc:sldMk cId="3092926485" sldId="312"/>
            <ac:picMk id="11" creationId="{587B3BD8-B288-9232-518A-576325BF1094}"/>
          </ac:picMkLst>
        </pc:picChg>
        <pc:picChg chg="add mod">
          <ac:chgData name="Alex Theile" userId="78fa646590d237ca" providerId="LiveId" clId="{E14B5682-94DE-4CC3-909F-F660F4FE4942}" dt="2022-09-13T06:34:47.771" v="4749"/>
          <ac:picMkLst>
            <pc:docMk/>
            <pc:sldMk cId="3092926485" sldId="312"/>
            <ac:picMk id="12" creationId="{BEF39699-FB23-0259-9A0E-ADFE3FB52AC5}"/>
          </ac:picMkLst>
        </pc:picChg>
      </pc:sldChg>
      <pc:sldChg chg="addSp delSp modSp add mod">
        <pc:chgData name="Alex Theile" userId="78fa646590d237ca" providerId="LiveId" clId="{E14B5682-94DE-4CC3-909F-F660F4FE4942}" dt="2022-09-13T05:50:26.523" v="4073" actId="14100"/>
        <pc:sldMkLst>
          <pc:docMk/>
          <pc:sldMk cId="1585839043" sldId="313"/>
        </pc:sldMkLst>
        <pc:picChg chg="add mod">
          <ac:chgData name="Alex Theile" userId="78fa646590d237ca" providerId="LiveId" clId="{E14B5682-94DE-4CC3-909F-F660F4FE4942}" dt="2022-09-13T05:50:26.523" v="4073" actId="14100"/>
          <ac:picMkLst>
            <pc:docMk/>
            <pc:sldMk cId="1585839043" sldId="313"/>
            <ac:picMk id="3" creationId="{D83FE683-FF30-D11A-1B7D-A0710687D0B3}"/>
          </ac:picMkLst>
        </pc:picChg>
        <pc:picChg chg="del mod">
          <ac:chgData name="Alex Theile" userId="78fa646590d237ca" providerId="LiveId" clId="{E14B5682-94DE-4CC3-909F-F660F4FE4942}" dt="2022-09-13T05:50:01.349" v="4020" actId="478"/>
          <ac:picMkLst>
            <pc:docMk/>
            <pc:sldMk cId="1585839043" sldId="313"/>
            <ac:picMk id="6" creationId="{05C8B52E-0094-F0E6-620A-18380EDF4727}"/>
          </ac:picMkLst>
        </pc:picChg>
      </pc:sldChg>
      <pc:sldChg chg="modSp add mod">
        <pc:chgData name="Alex Theile" userId="78fa646590d237ca" providerId="LiveId" clId="{E14B5682-94DE-4CC3-909F-F660F4FE4942}" dt="2022-09-13T08:43:12.484" v="7511" actId="1038"/>
        <pc:sldMkLst>
          <pc:docMk/>
          <pc:sldMk cId="12958441" sldId="314"/>
        </pc:sldMkLst>
        <pc:spChg chg="mod">
          <ac:chgData name="Alex Theile" userId="78fa646590d237ca" providerId="LiveId" clId="{E14B5682-94DE-4CC3-909F-F660F4FE4942}" dt="2022-09-13T08:43:12.484" v="7511" actId="1038"/>
          <ac:spMkLst>
            <pc:docMk/>
            <pc:sldMk cId="12958441" sldId="314"/>
            <ac:spMk id="4" creationId="{4870472C-0C5F-1CED-CB8E-3964C378A8CF}"/>
          </ac:spMkLst>
        </pc:spChg>
      </pc:sldChg>
      <pc:sldChg chg="addSp delSp modSp add mod">
        <pc:chgData name="Alex Theile" userId="78fa646590d237ca" providerId="LiveId" clId="{E14B5682-94DE-4CC3-909F-F660F4FE4942}" dt="2022-09-13T06:35:17.522" v="4756" actId="14100"/>
        <pc:sldMkLst>
          <pc:docMk/>
          <pc:sldMk cId="3395022027" sldId="315"/>
        </pc:sldMkLst>
        <pc:spChg chg="add del mod">
          <ac:chgData name="Alex Theile" userId="78fa646590d237ca" providerId="LiveId" clId="{E14B5682-94DE-4CC3-909F-F660F4FE4942}" dt="2022-09-13T06:35:06.789" v="4753" actId="478"/>
          <ac:spMkLst>
            <pc:docMk/>
            <pc:sldMk cId="3395022027" sldId="315"/>
            <ac:spMk id="3" creationId="{0A3C299F-CBC2-A19B-9168-A9FBAEC4BA65}"/>
          </ac:spMkLst>
        </pc:spChg>
        <pc:spChg chg="del">
          <ac:chgData name="Alex Theile" userId="78fa646590d237ca" providerId="LiveId" clId="{E14B5682-94DE-4CC3-909F-F660F4FE4942}" dt="2022-09-13T06:35:09.255" v="4754" actId="478"/>
          <ac:spMkLst>
            <pc:docMk/>
            <pc:sldMk cId="3395022027" sldId="315"/>
            <ac:spMk id="6" creationId="{9A3796E5-643B-8079-31EB-08D0A9CD8AAD}"/>
          </ac:spMkLst>
        </pc:spChg>
        <pc:spChg chg="add mod">
          <ac:chgData name="Alex Theile" userId="78fa646590d237ca" providerId="LiveId" clId="{E14B5682-94DE-4CC3-909F-F660F4FE4942}" dt="2022-09-13T06:35:17.522" v="4756" actId="14100"/>
          <ac:spMkLst>
            <pc:docMk/>
            <pc:sldMk cId="3395022027" sldId="315"/>
            <ac:spMk id="9" creationId="{D09D2BFE-6A36-6E33-736A-613F9468F830}"/>
          </ac:spMkLst>
        </pc:spChg>
        <pc:picChg chg="add mod">
          <ac:chgData name="Alex Theile" userId="78fa646590d237ca" providerId="LiveId" clId="{E14B5682-94DE-4CC3-909F-F660F4FE4942}" dt="2022-09-13T06:35:17.522" v="4756" actId="14100"/>
          <ac:picMkLst>
            <pc:docMk/>
            <pc:sldMk cId="3395022027" sldId="315"/>
            <ac:picMk id="4" creationId="{BDC809B3-7BE8-4C67-A0D3-36D806A05A95}"/>
          </ac:picMkLst>
        </pc:picChg>
        <pc:picChg chg="del">
          <ac:chgData name="Alex Theile" userId="78fa646590d237ca" providerId="LiveId" clId="{E14B5682-94DE-4CC3-909F-F660F4FE4942}" dt="2022-09-13T06:34:54.371" v="4751" actId="478"/>
          <ac:picMkLst>
            <pc:docMk/>
            <pc:sldMk cId="3395022027" sldId="315"/>
            <ac:picMk id="5" creationId="{E339AE51-36F4-356F-2408-BCDDA6173D49}"/>
          </ac:picMkLst>
        </pc:picChg>
        <pc:picChg chg="del">
          <ac:chgData name="Alex Theile" userId="78fa646590d237ca" providerId="LiveId" clId="{E14B5682-94DE-4CC3-909F-F660F4FE4942}" dt="2022-09-13T06:35:06.789" v="4753" actId="478"/>
          <ac:picMkLst>
            <pc:docMk/>
            <pc:sldMk cId="3395022027" sldId="315"/>
            <ac:picMk id="7" creationId="{AF01F1B4-F62B-2CE5-CF0A-54E2CE4B6130}"/>
          </ac:picMkLst>
        </pc:picChg>
        <pc:picChg chg="add mod">
          <ac:chgData name="Alex Theile" userId="78fa646590d237ca" providerId="LiveId" clId="{E14B5682-94DE-4CC3-909F-F660F4FE4942}" dt="2022-09-13T06:35:17.522" v="4756" actId="14100"/>
          <ac:picMkLst>
            <pc:docMk/>
            <pc:sldMk cId="3395022027" sldId="315"/>
            <ac:picMk id="8" creationId="{004F5701-C63B-8E1C-389F-C3C9EFBB47A3}"/>
          </ac:picMkLst>
        </pc:picChg>
      </pc:sldChg>
      <pc:sldChg chg="addSp delSp modSp add mod modAnim">
        <pc:chgData name="Alex Theile" userId="78fa646590d237ca" providerId="LiveId" clId="{E14B5682-94DE-4CC3-909F-F660F4FE4942}" dt="2022-09-13T08:49:11.505" v="7580" actId="11529"/>
        <pc:sldMkLst>
          <pc:docMk/>
          <pc:sldMk cId="3152318666" sldId="316"/>
        </pc:sldMkLst>
        <pc:spChg chg="del">
          <ac:chgData name="Alex Theile" userId="78fa646590d237ca" providerId="LiveId" clId="{E14B5682-94DE-4CC3-909F-F660F4FE4942}" dt="2022-09-13T08:48:05.504" v="7538" actId="478"/>
          <ac:spMkLst>
            <pc:docMk/>
            <pc:sldMk cId="3152318666" sldId="316"/>
            <ac:spMk id="5" creationId="{2515D4A9-D5DD-9110-B48D-616AD769D12A}"/>
          </ac:spMkLst>
        </pc:spChg>
        <pc:spChg chg="del">
          <ac:chgData name="Alex Theile" userId="78fa646590d237ca" providerId="LiveId" clId="{E14B5682-94DE-4CC3-909F-F660F4FE4942}" dt="2022-09-13T08:47:49.556" v="7530" actId="478"/>
          <ac:spMkLst>
            <pc:docMk/>
            <pc:sldMk cId="3152318666" sldId="316"/>
            <ac:spMk id="6" creationId="{BF936631-2D42-1E91-CB29-48D9C97F7424}"/>
          </ac:spMkLst>
        </pc:spChg>
        <pc:spChg chg="del mod topLvl">
          <ac:chgData name="Alex Theile" userId="78fa646590d237ca" providerId="LiveId" clId="{E14B5682-94DE-4CC3-909F-F660F4FE4942}" dt="2022-09-13T08:48:21.255" v="7573" actId="478"/>
          <ac:spMkLst>
            <pc:docMk/>
            <pc:sldMk cId="3152318666" sldId="316"/>
            <ac:spMk id="7" creationId="{5BB86768-4CDC-04EA-BBE5-251356C2B5E0}"/>
          </ac:spMkLst>
        </pc:spChg>
        <pc:spChg chg="del mod">
          <ac:chgData name="Alex Theile" userId="78fa646590d237ca" providerId="LiveId" clId="{E14B5682-94DE-4CC3-909F-F660F4FE4942}" dt="2022-09-13T08:47:52.861" v="7532" actId="478"/>
          <ac:spMkLst>
            <pc:docMk/>
            <pc:sldMk cId="3152318666" sldId="316"/>
            <ac:spMk id="8" creationId="{C74DBFB1-D8B9-4CA7-5E14-159FB9BE0313}"/>
          </ac:spMkLst>
        </pc:spChg>
        <pc:spChg chg="del mod topLvl">
          <ac:chgData name="Alex Theile" userId="78fa646590d237ca" providerId="LiveId" clId="{E14B5682-94DE-4CC3-909F-F660F4FE4942}" dt="2022-09-13T08:48:17.911" v="7572" actId="478"/>
          <ac:spMkLst>
            <pc:docMk/>
            <pc:sldMk cId="3152318666" sldId="316"/>
            <ac:spMk id="9" creationId="{ED95B05D-2538-A3FA-E8B0-777380B6ED6C}"/>
          </ac:spMkLst>
        </pc:spChg>
        <pc:spChg chg="del">
          <ac:chgData name="Alex Theile" userId="78fa646590d237ca" providerId="LiveId" clId="{E14B5682-94DE-4CC3-909F-F660F4FE4942}" dt="2022-09-13T08:47:47.842" v="7529" actId="478"/>
          <ac:spMkLst>
            <pc:docMk/>
            <pc:sldMk cId="3152318666" sldId="316"/>
            <ac:spMk id="10" creationId="{AA052F01-297B-0960-7956-E43671F06921}"/>
          </ac:spMkLst>
        </pc:spChg>
        <pc:spChg chg="add del mod">
          <ac:chgData name="Alex Theile" userId="78fa646590d237ca" providerId="LiveId" clId="{E14B5682-94DE-4CC3-909F-F660F4FE4942}" dt="2022-09-13T08:48:25.958" v="7574" actId="478"/>
          <ac:spMkLst>
            <pc:docMk/>
            <pc:sldMk cId="3152318666" sldId="316"/>
            <ac:spMk id="14" creationId="{9CFE554B-7928-BAA0-E75D-90B71F57757C}"/>
          </ac:spMkLst>
        </pc:spChg>
        <pc:spChg chg="add mod">
          <ac:chgData name="Alex Theile" userId="78fa646590d237ca" providerId="LiveId" clId="{E14B5682-94DE-4CC3-909F-F660F4FE4942}" dt="2022-09-13T08:48:32.301" v="7576" actId="1076"/>
          <ac:spMkLst>
            <pc:docMk/>
            <pc:sldMk cId="3152318666" sldId="316"/>
            <ac:spMk id="15" creationId="{C3EA04BE-2734-CF01-12EB-7361354BF215}"/>
          </ac:spMkLst>
        </pc:spChg>
        <pc:spChg chg="mod">
          <ac:chgData name="Alex Theile" userId="78fa646590d237ca" providerId="LiveId" clId="{E14B5682-94DE-4CC3-909F-F660F4FE4942}" dt="2022-09-13T08:48:09.743" v="7540" actId="571"/>
          <ac:spMkLst>
            <pc:docMk/>
            <pc:sldMk cId="3152318666" sldId="316"/>
            <ac:spMk id="17" creationId="{15D558E7-A671-8A01-7F4E-CC09180B3971}"/>
          </ac:spMkLst>
        </pc:spChg>
        <pc:spChg chg="mod">
          <ac:chgData name="Alex Theile" userId="78fa646590d237ca" providerId="LiveId" clId="{E14B5682-94DE-4CC3-909F-F660F4FE4942}" dt="2022-09-13T08:48:09.743" v="7540" actId="571"/>
          <ac:spMkLst>
            <pc:docMk/>
            <pc:sldMk cId="3152318666" sldId="316"/>
            <ac:spMk id="18" creationId="{41F85EE9-0C79-7201-11C3-0AB51650F610}"/>
          </ac:spMkLst>
        </pc:spChg>
        <pc:spChg chg="add mod">
          <ac:chgData name="Alex Theile" userId="78fa646590d237ca" providerId="LiveId" clId="{E14B5682-94DE-4CC3-909F-F660F4FE4942}" dt="2022-09-13T08:48:12.625" v="7570" actId="1038"/>
          <ac:spMkLst>
            <pc:docMk/>
            <pc:sldMk cId="3152318666" sldId="316"/>
            <ac:spMk id="19" creationId="{A2CC2E3D-88B6-3050-C645-D43ABCFBCAED}"/>
          </ac:spMkLst>
        </pc:spChg>
        <pc:spChg chg="add">
          <ac:chgData name="Alex Theile" userId="78fa646590d237ca" providerId="LiveId" clId="{E14B5682-94DE-4CC3-909F-F660F4FE4942}" dt="2022-09-13T08:49:11.505" v="7580" actId="11529"/>
          <ac:spMkLst>
            <pc:docMk/>
            <pc:sldMk cId="3152318666" sldId="316"/>
            <ac:spMk id="22" creationId="{5A896F8E-2A39-06B1-934F-D50279693895}"/>
          </ac:spMkLst>
        </pc:spChg>
        <pc:spChg chg="del mod">
          <ac:chgData name="Alex Theile" userId="78fa646590d237ca" providerId="LiveId" clId="{E14B5682-94DE-4CC3-909F-F660F4FE4942}" dt="2022-09-13T08:47:45.488" v="7528" actId="478"/>
          <ac:spMkLst>
            <pc:docMk/>
            <pc:sldMk cId="3152318666" sldId="316"/>
            <ac:spMk id="24" creationId="{A207DC9C-CAA3-57D8-557F-E21BDE8D19A9}"/>
          </ac:spMkLst>
        </pc:spChg>
        <pc:spChg chg="del">
          <ac:chgData name="Alex Theile" userId="78fa646590d237ca" providerId="LiveId" clId="{E14B5682-94DE-4CC3-909F-F660F4FE4942}" dt="2022-09-13T08:48:25.958" v="7574" actId="478"/>
          <ac:spMkLst>
            <pc:docMk/>
            <pc:sldMk cId="3152318666" sldId="316"/>
            <ac:spMk id="26" creationId="{B42986EF-9727-7921-9CAC-B8545DA1A92C}"/>
          </ac:spMkLst>
        </pc:spChg>
        <pc:spChg chg="del">
          <ac:chgData name="Alex Theile" userId="78fa646590d237ca" providerId="LiveId" clId="{E14B5682-94DE-4CC3-909F-F660F4FE4942}" dt="2022-09-13T08:48:25.958" v="7574" actId="478"/>
          <ac:spMkLst>
            <pc:docMk/>
            <pc:sldMk cId="3152318666" sldId="316"/>
            <ac:spMk id="29" creationId="{9021E7A6-CD81-E6D1-AFF6-AD87A3F9C7B6}"/>
          </ac:spMkLst>
        </pc:spChg>
        <pc:spChg chg="del mod">
          <ac:chgData name="Alex Theile" userId="78fa646590d237ca" providerId="LiveId" clId="{E14B5682-94DE-4CC3-909F-F660F4FE4942}" dt="2022-09-13T08:48:03.283" v="7537" actId="478"/>
          <ac:spMkLst>
            <pc:docMk/>
            <pc:sldMk cId="3152318666" sldId="316"/>
            <ac:spMk id="30" creationId="{ABDF5640-6301-E58A-0038-66666BE61315}"/>
          </ac:spMkLst>
        </pc:spChg>
        <pc:spChg chg="del">
          <ac:chgData name="Alex Theile" userId="78fa646590d237ca" providerId="LiveId" clId="{E14B5682-94DE-4CC3-909F-F660F4FE4942}" dt="2022-09-13T08:48:00.482" v="7535" actId="478"/>
          <ac:spMkLst>
            <pc:docMk/>
            <pc:sldMk cId="3152318666" sldId="316"/>
            <ac:spMk id="31" creationId="{6FD857F5-5971-95AD-1E58-AF47430DE03E}"/>
          </ac:spMkLst>
        </pc:spChg>
        <pc:spChg chg="del">
          <ac:chgData name="Alex Theile" userId="78fa646590d237ca" providerId="LiveId" clId="{E14B5682-94DE-4CC3-909F-F660F4FE4942}" dt="2022-09-13T08:47:57.632" v="7533" actId="478"/>
          <ac:spMkLst>
            <pc:docMk/>
            <pc:sldMk cId="3152318666" sldId="316"/>
            <ac:spMk id="32" creationId="{10184A66-B2EF-2586-6E2F-AA251047DAC0}"/>
          </ac:spMkLst>
        </pc:spChg>
        <pc:spChg chg="del">
          <ac:chgData name="Alex Theile" userId="78fa646590d237ca" providerId="LiveId" clId="{E14B5682-94DE-4CC3-909F-F660F4FE4942}" dt="2022-09-13T08:47:58.947" v="7534" actId="478"/>
          <ac:spMkLst>
            <pc:docMk/>
            <pc:sldMk cId="3152318666" sldId="316"/>
            <ac:spMk id="33" creationId="{660C90F1-2D73-73B3-9ABA-E833A2C3A66A}"/>
          </ac:spMkLst>
        </pc:spChg>
        <pc:grpChg chg="add del mod">
          <ac:chgData name="Alex Theile" userId="78fa646590d237ca" providerId="LiveId" clId="{E14B5682-94DE-4CC3-909F-F660F4FE4942}" dt="2022-09-13T08:48:17.911" v="7572" actId="478"/>
          <ac:grpSpMkLst>
            <pc:docMk/>
            <pc:sldMk cId="3152318666" sldId="316"/>
            <ac:grpSpMk id="4" creationId="{68F0D518-2F86-51E3-AFAA-422D7FFB1FC4}"/>
          </ac:grpSpMkLst>
        </pc:grpChg>
        <pc:grpChg chg="del">
          <ac:chgData name="Alex Theile" userId="78fa646590d237ca" providerId="LiveId" clId="{E14B5682-94DE-4CC3-909F-F660F4FE4942}" dt="2022-09-13T08:48:25.958" v="7574" actId="478"/>
          <ac:grpSpMkLst>
            <pc:docMk/>
            <pc:sldMk cId="3152318666" sldId="316"/>
            <ac:grpSpMk id="11" creationId="{0D21F6B1-518D-7B38-6486-265AA58A25E7}"/>
          </ac:grpSpMkLst>
        </pc:grpChg>
        <pc:grpChg chg="add mod">
          <ac:chgData name="Alex Theile" userId="78fa646590d237ca" providerId="LiveId" clId="{E14B5682-94DE-4CC3-909F-F660F4FE4942}" dt="2022-09-13T08:48:12.625" v="7570" actId="1038"/>
          <ac:grpSpMkLst>
            <pc:docMk/>
            <pc:sldMk cId="3152318666" sldId="316"/>
            <ac:grpSpMk id="16" creationId="{06FD534C-333A-BB33-7FE7-EDDBEB71F9C9}"/>
          </ac:grpSpMkLst>
        </pc:grpChg>
        <pc:graphicFrameChg chg="mod">
          <ac:chgData name="Alex Theile" userId="78fa646590d237ca" providerId="LiveId" clId="{E14B5682-94DE-4CC3-909F-F660F4FE4942}" dt="2022-09-13T08:47:41.923" v="7526" actId="14100"/>
          <ac:graphicFrameMkLst>
            <pc:docMk/>
            <pc:sldMk cId="3152318666" sldId="316"/>
            <ac:graphicFrameMk id="3" creationId="{622664AA-6E77-1AA2-C052-44211E180E53}"/>
          </ac:graphicFrameMkLst>
        </pc:graphicFrameChg>
        <pc:picChg chg="add mod">
          <ac:chgData name="Alex Theile" userId="78fa646590d237ca" providerId="LiveId" clId="{E14B5682-94DE-4CC3-909F-F660F4FE4942}" dt="2022-09-13T08:48:51.372" v="7579" actId="1076"/>
          <ac:picMkLst>
            <pc:docMk/>
            <pc:sldMk cId="3152318666" sldId="316"/>
            <ac:picMk id="21" creationId="{D430F530-5FFC-84E4-DC85-C9FCE380592C}"/>
          </ac:picMkLst>
        </pc:picChg>
      </pc:sldChg>
      <pc:sldMasterChg chg="delSldLayout">
        <pc:chgData name="Alex Theile" userId="78fa646590d237ca" providerId="LiveId" clId="{E14B5682-94DE-4CC3-909F-F660F4FE4942}" dt="2022-09-13T07:35:07.753" v="6787" actId="47"/>
        <pc:sldMasterMkLst>
          <pc:docMk/>
          <pc:sldMasterMk cId="2120465908" sldId="2147483660"/>
        </pc:sldMasterMkLst>
        <pc:sldLayoutChg chg="del">
          <pc:chgData name="Alex Theile" userId="78fa646590d237ca" providerId="LiveId" clId="{E14B5682-94DE-4CC3-909F-F660F4FE4942}" dt="2022-09-13T07:35:07.753" v="6787" actId="47"/>
          <pc:sldLayoutMkLst>
            <pc:docMk/>
            <pc:sldMasterMk cId="2120465908" sldId="2147483660"/>
            <pc:sldLayoutMk cId="38194788" sldId="2147483706"/>
          </pc:sldLayoutMkLst>
        </pc:sldLayoutChg>
        <pc:sldLayoutChg chg="del">
          <pc:chgData name="Alex Theile" userId="78fa646590d237ca" providerId="LiveId" clId="{E14B5682-94DE-4CC3-909F-F660F4FE4942}" dt="2022-09-13T07:35:07.753" v="6787" actId="47"/>
          <pc:sldLayoutMkLst>
            <pc:docMk/>
            <pc:sldMasterMk cId="2120465908" sldId="2147483660"/>
            <pc:sldLayoutMk cId="2714293414" sldId="214748370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0B7C4F-C802-4D4F-9B69-6F83B10784A9}" type="datetimeFigureOut">
              <a:rPr lang="en-US" smtClean="0"/>
              <a:t>4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C72B83-F839-4204-92A6-059C9241A56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141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 am tom Theile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PIDR, Departement </a:t>
            </a:r>
            <a:r>
              <a:rPr lang="de-DE" dirty="0" err="1"/>
              <a:t>of</a:t>
            </a:r>
            <a:r>
              <a:rPr lang="de-DE" dirty="0"/>
              <a:t> digital and </a:t>
            </a:r>
            <a:r>
              <a:rPr lang="de-DE" dirty="0" err="1"/>
              <a:t>computational</a:t>
            </a:r>
            <a:r>
              <a:rPr lang="de-DE" dirty="0"/>
              <a:t> </a:t>
            </a:r>
            <a:r>
              <a:rPr lang="de-DE" dirty="0" err="1"/>
              <a:t>demography</a:t>
            </a:r>
            <a:endParaRPr lang="de-DE" dirty="0"/>
          </a:p>
          <a:p>
            <a:endParaRPr lang="de-DE" dirty="0"/>
          </a:p>
          <a:p>
            <a:r>
              <a:rPr lang="de-DE" dirty="0"/>
              <a:t>As a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developer</a:t>
            </a:r>
            <a:r>
              <a:rPr lang="de-DE" dirty="0"/>
              <a:t> I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9593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4332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6080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insert table here!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1272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insert table here!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038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insert table here!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3404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Old version didn't run on Windows - which is basically the only option at the Max-Planck-Institute for demographic research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Carl Mason, the last maintainer of </a:t>
            </a:r>
            <a:r>
              <a:rPr lang="en-US" sz="12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 retired 2020, so we took over the project before he left and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I rewrote some of the old code so that it compiles with newer compilers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Then we decided to use RCPP, which is a R-package with which you can compile C++ code and make it interoperable with R. That is convenient, because 1) users used R to start SOCSIM simulations and read  and process the output of SOCSIM anyways. 2) It makes the distribution to users on different operating systems easy and convenient. I think the installation is much easier now... I hope the feedback today does not show something else..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Behind the curtains, SOCSIM did not change by a lot. When we start a simulation from the R-Package, we provide the input just like we would when using the command-line version by writing input-files. The output will also be written to files in a specific output folder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We added some R-functions that were not part of </a:t>
            </a:r>
            <a:r>
              <a:rPr lang="en-US" sz="12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 before, but which are very </a:t>
            </a:r>
            <a:r>
              <a:rPr lang="en-US" sz="1200" dirty="0" err="1">
                <a:solidFill>
                  <a:srgbClr val="000000"/>
                </a:solidFill>
                <a:effectLst/>
                <a:latin typeface="&amp;quot"/>
              </a:rPr>
              <a:t>usefull</a:t>
            </a: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 when working with </a:t>
            </a:r>
            <a:r>
              <a:rPr lang="en-US" sz="12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 output files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You will learn to use them in the exercises that Liliana Calderon and Mallika Schneider prepared for today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688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721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Are we living in a Simulation?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ll, probably not in a </a:t>
            </a: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 simulation, because </a:t>
            </a: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 simulates a very reduced version of reality.
It simulates a universe that only consists of a number of persons, which can only experience a few events over their whole life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picture from diss: input: rates --&gt; </a:t>
            </a: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--&gt;output: kinship network ... artificial population</a:t>
            </a:r>
          </a:p>
          <a:p>
            <a:pPr marL="457200" marR="0" lvl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 provide rates as input and get a simulated population as output.</a:t>
            </a:r>
          </a:p>
          <a:p>
            <a:pPr marL="457200" marR="0" lvl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 can then use R to analyze this kinship network in ways that is not possible with real world data – because we do not have this data</a:t>
            </a:r>
          </a:p>
          <a:p>
            <a:pPr marL="457200" marR="0" lvl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 can also simulate counterfactual populations and circumstanc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216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Are we living in a Simulation?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ll, probably not in a </a:t>
            </a: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 simulation, because </a:t>
            </a: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 simulates a very reduced version of reality.
It simulates a universe that only consists of a number of persons, which can only experience a few events over their whole life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picture from diss: input: rates --&gt; </a:t>
            </a: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--&gt;output: kinship network ... artificial population</a:t>
            </a:r>
          </a:p>
          <a:p>
            <a:pPr marL="457200" marR="0" lvl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 provide rates as input and get a simulated population as output.</a:t>
            </a:r>
          </a:p>
          <a:p>
            <a:pPr marL="457200" marR="0" lvl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 can then use R to analyze this kinship network in ways that is not possible with real world data – because we do not have this data</a:t>
            </a:r>
          </a:p>
          <a:p>
            <a:pPr marL="457200" marR="0" lvl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e can also simulate counterfactual populations and circumstanc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365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weigeteilt: Erst stelle ich unser Institut, unser Lab vor, und gehe dabei auch einmal auf meine Position als unbefristeter Research Software Developer ein (relevant hier)</a:t>
            </a:r>
          </a:p>
          <a:p>
            <a:endParaRPr lang="de-DE" dirty="0"/>
          </a:p>
          <a:p>
            <a:r>
              <a:rPr lang="de-DE" dirty="0"/>
              <a:t>Anschließend kommt der eigentliche Inhalt über das Migrationsverhalten von Wissenschaftlern und insbesondere wie wir im Team diese Daten aus </a:t>
            </a:r>
            <a:r>
              <a:rPr lang="de-DE" dirty="0" err="1"/>
              <a:t>Bibliometrischen</a:t>
            </a:r>
            <a:r>
              <a:rPr lang="de-DE" dirty="0"/>
              <a:t> Daten herausfiltern und wie wir überhaupt an diese herankommen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488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socsim</a:t>
            </a:r>
            <a:r>
              <a:rPr lang="de-DE" dirty="0"/>
              <a:t>,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alternatives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859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socsim</a:t>
            </a:r>
            <a:r>
              <a:rPr lang="de-DE" dirty="0"/>
              <a:t>,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alternatives?</a:t>
            </a:r>
          </a:p>
          <a:p>
            <a:endParaRPr lang="de-DE" dirty="0"/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Every person is an individual object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&amp;quot"/>
              </a:rPr>
              <a:t>The population is a long list of person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When a birth happens, a new person is created and appended to that list              </a:t>
            </a:r>
            <a:r>
              <a:rPr lang="en-US" sz="1200" dirty="0">
                <a:solidFill>
                  <a:srgbClr val="000000"/>
                </a:solidFill>
                <a:effectLst/>
                <a:latin typeface="&amp;quot"/>
                <a:sym typeface="Wingdings" panose="05000000000000000000" pitchFamily="2" charset="2"/>
              </a:rPr>
              <a:t> closed simulation. No other way to enter this world</a:t>
            </a:r>
            <a:endParaRPr lang="en-US" sz="1200" dirty="0">
              <a:solidFill>
                <a:srgbClr val="000000"/>
              </a:solidFill>
              <a:effectLst/>
              <a:latin typeface="&amp;quot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At the start of the simulation (or after an event), every person gets a “next event”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&amp;quot"/>
              </a:rPr>
              <a:t>Events can be marriage, divorce, childbirth, death, etc.</a:t>
            </a:r>
          </a:p>
          <a:p>
            <a:pPr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&amp;quot"/>
              </a:rPr>
              <a:t>Time increments in discrete timesteps</a:t>
            </a:r>
          </a:p>
          <a:p>
            <a:pPr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&amp;quot"/>
              </a:rPr>
              <a:t>In every time step, all events scheduled for this time “happen”                      </a:t>
            </a:r>
            <a:r>
              <a:rPr lang="en-US" sz="1200" dirty="0">
                <a:solidFill>
                  <a:srgbClr val="000000"/>
                </a:solidFill>
                <a:latin typeface="&amp;quot"/>
                <a:sym typeface="Wingdings" panose="05000000000000000000" pitchFamily="2" charset="2"/>
              </a:rPr>
              <a:t> the code for this event is executed, which can change parameters of a person or introduce new persons</a:t>
            </a:r>
            <a:endParaRPr lang="en-US" sz="1200" dirty="0">
              <a:solidFill>
                <a:srgbClr val="000000"/>
              </a:solidFill>
              <a:latin typeface="&amp;quot"/>
            </a:endParaRPr>
          </a:p>
          <a:p>
            <a:pPr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&amp;quot"/>
              </a:rPr>
              <a:t>A simulation can consist of 1 or more “segments”, every segment can have different rates</a:t>
            </a:r>
          </a:p>
          <a:p>
            <a:pPr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&amp;quot"/>
              </a:rPr>
              <a:t>At the end of the simulation, </a:t>
            </a:r>
            <a:r>
              <a:rPr lang="en-US" sz="1200" dirty="0" err="1">
                <a:solidFill>
                  <a:srgbClr val="000000"/>
                </a:solidFill>
                <a:latin typeface="&amp;quot"/>
              </a:rPr>
              <a:t>socsim</a:t>
            </a:r>
            <a:r>
              <a:rPr lang="en-US" sz="1200" dirty="0">
                <a:solidFill>
                  <a:srgbClr val="000000"/>
                </a:solidFill>
                <a:latin typeface="&amp;quot"/>
              </a:rPr>
              <a:t> writes the population into output fil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2041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age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ates</a:t>
            </a:r>
            <a:r>
              <a:rPr lang="de-DE" dirty="0"/>
              <a:t> and </a:t>
            </a:r>
            <a:r>
              <a:rPr lang="de-DE" dirty="0" err="1"/>
              <a:t>marriage</a:t>
            </a:r>
            <a:r>
              <a:rPr lang="de-DE" dirty="0"/>
              <a:t> </a:t>
            </a:r>
            <a:r>
              <a:rPr lang="de-DE" dirty="0" err="1"/>
              <a:t>behaviour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5036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divorce</a:t>
            </a:r>
          </a:p>
          <a:p>
            <a:pPr marL="7429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much easier than marriage</a:t>
            </a:r>
          </a:p>
          <a:p>
            <a:pPr marL="285750" lvl="1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Childbirth</a:t>
            </a:r>
          </a:p>
          <a:p>
            <a:pPr marL="7429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happens to potential mother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7265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72B83-F839-4204-92A6-059C9241A56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421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48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672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98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49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56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1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91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224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84" imgH="385" progId="TCLayout.ActiveDocument.1">
                  <p:embed/>
                </p:oleObj>
              </mc:Choice>
              <mc:Fallback>
                <p:oleObj name="think-cell Folie" r:id="rId1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1" r:id="rId2"/>
    <p:sldLayoutId id="2147483697" r:id="rId3"/>
    <p:sldLayoutId id="2147483702" r:id="rId4"/>
    <p:sldLayoutId id="2147483662" r:id="rId5"/>
    <p:sldLayoutId id="2147483703" r:id="rId6"/>
    <p:sldLayoutId id="2147483705" r:id="rId7"/>
    <p:sldLayoutId id="2147483704" r:id="rId8"/>
    <p:sldLayoutId id="2147483708" r:id="rId9"/>
    <p:sldLayoutId id="2147483664" r:id="rId10"/>
    <p:sldLayoutId id="2147483668" r:id="rId11"/>
    <p:sldLayoutId id="2147483698" r:id="rId12"/>
    <p:sldLayoutId id="2147483673" r:id="rId13"/>
    <p:sldLayoutId id="2147483663" r:id="rId1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0" y="2517168"/>
            <a:ext cx="9046489" cy="1226831"/>
          </a:xfrm>
        </p:spPr>
        <p:txBody>
          <a:bodyPr/>
          <a:lstStyle/>
          <a:p>
            <a:r>
              <a:rPr lang="de-DE" b="0" dirty="0" err="1"/>
              <a:t>rsocsim</a:t>
            </a:r>
            <a:endParaRPr lang="de-DE" b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5509" y="4403406"/>
            <a:ext cx="6167251" cy="1226831"/>
          </a:xfrm>
        </p:spPr>
        <p:txBody>
          <a:bodyPr/>
          <a:lstStyle/>
          <a:p>
            <a:endParaRPr lang="de-DE" dirty="0"/>
          </a:p>
          <a:p>
            <a:r>
              <a:rPr lang="de-DE" i="1" dirty="0"/>
              <a:t>Tom Theile – Software Developer</a:t>
            </a:r>
          </a:p>
          <a:p>
            <a:r>
              <a:rPr lang="de-DE" i="1" dirty="0"/>
              <a:t>Max-Planck Institute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demographic</a:t>
            </a:r>
            <a:r>
              <a:rPr lang="de-DE" i="1" dirty="0"/>
              <a:t> </a:t>
            </a:r>
            <a:r>
              <a:rPr lang="de-DE" i="1" dirty="0" err="1"/>
              <a:t>research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Event Scheduling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Every person has 1 next event scheduled for the future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Every timestep, all events scheduled for this timestep are executed in random order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After an event, new events are scheduled for affected person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For every possible event, a waiting time is calculated based on rates and random number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The event with the shortest waiting time is picked as the next even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</p:spTree>
    <p:extLst>
      <p:ext uri="{BB962C8B-B14F-4D97-AF65-F5344CB8AC3E}">
        <p14:creationId xmlns:p14="http://schemas.microsoft.com/office/powerpoint/2010/main" val="9397696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Event Scheduling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Every person has 1 next event scheduled for the future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Every timestep, all events scheduled for this timestep are executed in random order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After an event, new events are scheduled for affected person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For every possible event, a waiting time is calculated based on rates and random number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The event with the shortest waiting time is picked as the next even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F31AB3-6D26-DABE-65E4-8B8B6CA22F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9999" y="2587764"/>
            <a:ext cx="9296178" cy="3557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794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Segments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One Simulation can consist of many segment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A new segment can introduce new rates</a:t>
            </a: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00000"/>
              </a:solidFill>
              <a:effectLst/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</p:spTree>
    <p:extLst>
      <p:ext uri="{BB962C8B-B14F-4D97-AF65-F5344CB8AC3E}">
        <p14:creationId xmlns:p14="http://schemas.microsoft.com/office/powerpoint/2010/main" val="39800073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At the End of a Simulation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The virtual population will be written to output files</a:t>
            </a:r>
          </a:p>
          <a:p>
            <a:pPr marL="446088" lvl="1" indent="-1778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opop</a:t>
            </a: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  <a:p>
            <a:pPr marL="12001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effectLst/>
                <a:latin typeface="&amp;quot"/>
              </a:rPr>
              <a:t>contains every person that has lived during the whole simulation.</a:t>
            </a:r>
          </a:p>
          <a:p>
            <a:pPr marL="12001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effectLst/>
                <a:latin typeface="&amp;quot"/>
              </a:rPr>
              <a:t>Month of birth, month of dead, etc.</a:t>
            </a:r>
          </a:p>
          <a:p>
            <a:pPr marL="446088" lvl="1" indent="-177800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446088" algn="l"/>
              </a:tabLst>
            </a:pPr>
            <a:r>
              <a:rPr lang="en-US" sz="1800" dirty="0" err="1">
                <a:solidFill>
                  <a:srgbClr val="000000"/>
                </a:solidFill>
                <a:effectLst/>
                <a:latin typeface="&amp;quot"/>
              </a:rPr>
              <a:t>omar</a:t>
            </a:r>
            <a:endParaRPr lang="en-US" sz="1200" dirty="0">
              <a:solidFill>
                <a:srgbClr val="000000"/>
              </a:solidFill>
              <a:effectLst/>
              <a:latin typeface="&amp;quot"/>
            </a:endParaRPr>
          </a:p>
          <a:p>
            <a:pPr marL="12001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effectLst/>
                <a:latin typeface="&amp;quot"/>
              </a:rPr>
              <a:t>Contains information of every marriage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These output files can then be read in with R to analyze the virtual kinship network, retrieve rates etc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</p:spTree>
    <p:extLst>
      <p:ext uri="{BB962C8B-B14F-4D97-AF65-F5344CB8AC3E}">
        <p14:creationId xmlns:p14="http://schemas.microsoft.com/office/powerpoint/2010/main" val="326538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At the End of a Simulation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&amp;quot"/>
              </a:rPr>
              <a:t>opop</a:t>
            </a: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FBB0940-7DAA-5825-68BA-0511B3C56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92" y="-1"/>
            <a:ext cx="12121952" cy="712562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FE7A6CA-5F23-1D02-DF4E-D131F9E32F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3366" y="1931603"/>
            <a:ext cx="7393142" cy="509366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599AD32-E09F-E541-387E-4D2F0BBA35DD}"/>
              </a:ext>
            </a:extLst>
          </p:cNvPr>
          <p:cNvSpPr txBox="1"/>
          <p:nvPr/>
        </p:nvSpPr>
        <p:spPr>
          <a:xfrm>
            <a:off x="1103969" y="2563946"/>
            <a:ext cx="3256157" cy="7437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dirty="0"/>
              <a:t>.</a:t>
            </a:r>
            <a:r>
              <a:rPr lang="de-DE" sz="2000" dirty="0" err="1"/>
              <a:t>opop</a:t>
            </a:r>
            <a:r>
              <a:rPr lang="de-DE" sz="2000" dirty="0"/>
              <a:t>-file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000" dirty="0"/>
              <a:t>1 </a:t>
            </a:r>
            <a:r>
              <a:rPr lang="de-DE" sz="2000" dirty="0" err="1"/>
              <a:t>row</a:t>
            </a:r>
            <a:r>
              <a:rPr lang="de-DE" sz="2000" dirty="0"/>
              <a:t> = 1 </a:t>
            </a:r>
            <a:r>
              <a:rPr lang="de-DE" sz="2000" dirty="0" err="1"/>
              <a:t>person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7483656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At the End of a Simulation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&amp;quot"/>
              </a:rPr>
              <a:t>opop</a:t>
            </a: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1B01A6B-A78C-4CA7-1824-6AD4A0B3A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101" y="0"/>
            <a:ext cx="11889617" cy="770189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D0D6546-0340-752D-0025-A2431484B7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5015" y="2777487"/>
            <a:ext cx="7648127" cy="401646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599AD32-E09F-E541-387E-4D2F0BBA35DD}"/>
              </a:ext>
            </a:extLst>
          </p:cNvPr>
          <p:cNvSpPr txBox="1"/>
          <p:nvPr/>
        </p:nvSpPr>
        <p:spPr>
          <a:xfrm>
            <a:off x="766763" y="4502484"/>
            <a:ext cx="3557276" cy="7518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800" dirty="0" err="1"/>
              <a:t>Marriage</a:t>
            </a:r>
            <a:r>
              <a:rPr lang="de-DE" sz="2800" dirty="0"/>
              <a:t> </a:t>
            </a:r>
            <a:r>
              <a:rPr lang="de-DE" sz="2800" dirty="0" err="1"/>
              <a:t>file</a:t>
            </a:r>
            <a:endParaRPr lang="de-DE" sz="28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2800" dirty="0"/>
              <a:t>1 </a:t>
            </a:r>
            <a:r>
              <a:rPr lang="de-DE" sz="2800" dirty="0" err="1"/>
              <a:t>row</a:t>
            </a:r>
            <a:r>
              <a:rPr lang="de-DE" sz="2800" dirty="0"/>
              <a:t> = 1 </a:t>
            </a:r>
            <a:r>
              <a:rPr lang="de-DE" sz="2800" dirty="0" err="1"/>
              <a:t>marriage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01157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What is different now? Why R?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Most of the code is still the old C code (mostly from Carl Mason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Windows-supp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R-package instead of command-line program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R-package includes useful functions: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 err="1">
                <a:solidFill>
                  <a:srgbClr val="000000"/>
                </a:solidFill>
                <a:latin typeface="&amp;quot"/>
              </a:rPr>
              <a:t>create_simulation_folder</a:t>
            </a:r>
            <a:r>
              <a:rPr lang="en-US" sz="1800" dirty="0">
                <a:solidFill>
                  <a:srgbClr val="000000"/>
                </a:solidFill>
                <a:latin typeface="&amp;quot"/>
              </a:rPr>
              <a:t>(),</a:t>
            </a:r>
            <a:r>
              <a:rPr lang="en-US" sz="1800" dirty="0" err="1">
                <a:solidFill>
                  <a:srgbClr val="000000"/>
                </a:solidFill>
                <a:latin typeface="&amp;quot"/>
              </a:rPr>
              <a:t>Retrieve_rates</a:t>
            </a:r>
            <a:r>
              <a:rPr lang="en-US" sz="1800" dirty="0">
                <a:solidFill>
                  <a:srgbClr val="000000"/>
                </a:solidFill>
                <a:latin typeface="&amp;quot"/>
              </a:rPr>
              <a:t>(), </a:t>
            </a:r>
            <a:r>
              <a:rPr lang="en-US" sz="1800" dirty="0" err="1">
                <a:solidFill>
                  <a:srgbClr val="000000"/>
                </a:solidFill>
                <a:latin typeface="&amp;quot"/>
              </a:rPr>
              <a:t>retrieve_kin</a:t>
            </a:r>
            <a:r>
              <a:rPr lang="en-US" sz="1800" dirty="0">
                <a:solidFill>
                  <a:srgbClr val="000000"/>
                </a:solidFill>
                <a:latin typeface="&amp;quot"/>
              </a:rPr>
              <a:t>(),</a:t>
            </a:r>
            <a:endParaRPr lang="en-US" sz="100" dirty="0">
              <a:solidFill>
                <a:srgbClr val="000000"/>
              </a:solidFill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Rsocsi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2771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Future work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Making it more robust on all platforms, better tested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Improving the documentation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More R-functions to analyze the simulation outpu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Parallelization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Integrating user feedback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00" dirty="0">
              <a:solidFill>
                <a:srgbClr val="000000"/>
              </a:solidFill>
              <a:latin typeface="&amp;quot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Rsocsi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0458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09A902CE-A951-9349-884E-9C730D9F8A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attention</a:t>
            </a:r>
          </a:p>
        </p:txBody>
      </p:sp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rgbClr val="006C66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4603133" y="4179035"/>
            <a:ext cx="4334494" cy="123110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/>
            <a:r>
              <a:rPr lang="de-DE" sz="1600" b="1" dirty="0">
                <a:solidFill>
                  <a:srgbClr val="006C66"/>
                </a:solidFill>
              </a:rPr>
              <a:t>Tom Theile</a:t>
            </a:r>
            <a:br>
              <a:rPr lang="de-DE" sz="1600" b="1" dirty="0">
                <a:solidFill>
                  <a:srgbClr val="006C66"/>
                </a:solidFill>
              </a:rPr>
            </a:br>
            <a:r>
              <a:rPr lang="en-US" sz="1600" dirty="0"/>
              <a:t>Research Software Developer </a:t>
            </a:r>
          </a:p>
          <a:p>
            <a:pPr lvl="0"/>
            <a:r>
              <a:rPr lang="en-US" sz="1600" dirty="0" err="1"/>
              <a:t>DCoDe</a:t>
            </a:r>
            <a:r>
              <a:rPr lang="en-US" sz="1600" dirty="0"/>
              <a:t> </a:t>
            </a:r>
            <a:r>
              <a:rPr lang="en-US" sz="1600" dirty="0" err="1"/>
              <a:t>Departement</a:t>
            </a:r>
            <a:r>
              <a:rPr lang="en-US" sz="1600" dirty="0"/>
              <a:t> MPIDR</a:t>
            </a:r>
          </a:p>
          <a:p>
            <a:pPr lvl="0"/>
            <a:endParaRPr lang="en-US" sz="1600" dirty="0"/>
          </a:p>
          <a:p>
            <a:pPr lvl="0"/>
            <a:r>
              <a:rPr lang="en-US" sz="1600" dirty="0"/>
              <a:t>theile@demogr.mpg.de</a:t>
            </a:r>
          </a:p>
        </p:txBody>
      </p:sp>
    </p:spTree>
    <p:extLst>
      <p:ext uri="{BB962C8B-B14F-4D97-AF65-F5344CB8AC3E}">
        <p14:creationId xmlns:p14="http://schemas.microsoft.com/office/powerpoint/2010/main" val="413461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322800" cy="53692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389D999C-EB63-8840-9E76-4E48270B58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29883" y="3183214"/>
            <a:ext cx="7878183" cy="2475000"/>
          </a:xfrm>
        </p:spPr>
        <p:txBody>
          <a:bodyPr anchor="t" anchorCtr="0"/>
          <a:lstStyle/>
          <a:p>
            <a:r>
              <a:rPr lang="de-DE" sz="4000" dirty="0"/>
              <a:t>Are </a:t>
            </a:r>
            <a:r>
              <a:rPr lang="de-DE" sz="4000" dirty="0" err="1"/>
              <a:t>we</a:t>
            </a:r>
            <a:r>
              <a:rPr lang="de-DE" sz="4000" dirty="0"/>
              <a:t> </a:t>
            </a:r>
            <a:r>
              <a:rPr lang="de-DE" sz="4000" dirty="0" err="1"/>
              <a:t>living</a:t>
            </a:r>
            <a:r>
              <a:rPr lang="de-DE" sz="4000" dirty="0"/>
              <a:t> in a </a:t>
            </a:r>
            <a:r>
              <a:rPr lang="de-DE" sz="4000" dirty="0" err="1"/>
              <a:t>simulation</a:t>
            </a:r>
            <a:r>
              <a:rPr lang="de-DE" sz="4000" dirty="0"/>
              <a:t>?</a:t>
            </a:r>
            <a:endParaRPr lang="de-DE" sz="4000" dirty="0">
              <a:solidFill>
                <a:schemeClr val="tx1"/>
              </a:solidFill>
            </a:endParaRPr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69686DBF-4563-4247-964B-8096265E2CE1}"/>
              </a:ext>
            </a:extLst>
          </p:cNvPr>
          <p:cNvCxnSpPr>
            <a:cxnSpLocks/>
          </p:cNvCxnSpPr>
          <p:nvPr/>
        </p:nvCxnSpPr>
        <p:spPr>
          <a:xfrm>
            <a:off x="2984288" y="2432533"/>
            <a:ext cx="8097796" cy="0"/>
          </a:xfrm>
          <a:prstGeom prst="line">
            <a:avLst/>
          </a:prstGeom>
          <a:ln w="25400" cmpd="sng">
            <a:solidFill>
              <a:schemeClr val="bg1"/>
            </a:solidFill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231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322800" cy="53692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389D999C-EB63-8840-9E76-4E48270B58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29883" y="3183214"/>
            <a:ext cx="7878183" cy="2475000"/>
          </a:xfrm>
        </p:spPr>
        <p:txBody>
          <a:bodyPr anchor="t" anchorCtr="0"/>
          <a:lstStyle/>
          <a:p>
            <a:r>
              <a:rPr lang="de-DE" sz="4000" dirty="0"/>
              <a:t>Are </a:t>
            </a:r>
            <a:r>
              <a:rPr lang="de-DE" sz="4000" dirty="0" err="1"/>
              <a:t>we</a:t>
            </a:r>
            <a:r>
              <a:rPr lang="de-DE" sz="4000" dirty="0"/>
              <a:t> </a:t>
            </a:r>
            <a:r>
              <a:rPr lang="de-DE" sz="4000" dirty="0" err="1"/>
              <a:t>living</a:t>
            </a:r>
            <a:r>
              <a:rPr lang="de-DE" sz="4000" dirty="0"/>
              <a:t> in a </a:t>
            </a:r>
            <a:r>
              <a:rPr lang="de-DE" sz="4000" dirty="0" err="1"/>
              <a:t>simulation</a:t>
            </a:r>
            <a:r>
              <a:rPr lang="de-DE" sz="4000" dirty="0"/>
              <a:t>?</a:t>
            </a:r>
            <a:endParaRPr lang="de-DE" sz="4000" dirty="0">
              <a:solidFill>
                <a:schemeClr val="tx1"/>
              </a:solidFill>
            </a:endParaRPr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69686DBF-4563-4247-964B-8096265E2CE1}"/>
              </a:ext>
            </a:extLst>
          </p:cNvPr>
          <p:cNvCxnSpPr>
            <a:cxnSpLocks/>
          </p:cNvCxnSpPr>
          <p:nvPr/>
        </p:nvCxnSpPr>
        <p:spPr>
          <a:xfrm>
            <a:off x="2984288" y="2432533"/>
            <a:ext cx="8097796" cy="0"/>
          </a:xfrm>
          <a:prstGeom prst="line">
            <a:avLst/>
          </a:prstGeom>
          <a:ln w="25400" cmpd="sng">
            <a:solidFill>
              <a:schemeClr val="bg1"/>
            </a:solidFill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6C8548C1-A8F9-1731-DBEB-1B7FD012A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9883" y="3852767"/>
            <a:ext cx="7544853" cy="158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698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322800" cy="536926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389D999C-EB63-8840-9E76-4E48270B58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7336" y="3183214"/>
            <a:ext cx="7050730" cy="2475000"/>
          </a:xfrm>
        </p:spPr>
        <p:txBody>
          <a:bodyPr anchor="t" anchorCtr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History</a:t>
            </a:r>
            <a:endParaRPr lang="de-DE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socsim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internally</a:t>
            </a:r>
            <a:r>
              <a:rPr lang="de-DE" dirty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Wh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ocsi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now</a:t>
            </a:r>
            <a:r>
              <a:rPr lang="de-DE" dirty="0">
                <a:solidFill>
                  <a:schemeClr val="tx1"/>
                </a:solidFill>
              </a:rPr>
              <a:t> an R-</a:t>
            </a:r>
            <a:r>
              <a:rPr lang="de-DE" dirty="0" err="1">
                <a:solidFill>
                  <a:schemeClr val="tx1"/>
                </a:solidFill>
              </a:rPr>
              <a:t>package</a:t>
            </a:r>
            <a:r>
              <a:rPr lang="de-DE" dirty="0">
                <a:solidFill>
                  <a:schemeClr val="tx1"/>
                </a:solidFill>
              </a:rPr>
              <a:t>?</a:t>
            </a:r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69686DBF-4563-4247-964B-8096265E2CE1}"/>
              </a:ext>
            </a:extLst>
          </p:cNvPr>
          <p:cNvCxnSpPr>
            <a:cxnSpLocks/>
          </p:cNvCxnSpPr>
          <p:nvPr/>
        </p:nvCxnSpPr>
        <p:spPr>
          <a:xfrm>
            <a:off x="2984288" y="2432533"/>
            <a:ext cx="8097796" cy="0"/>
          </a:xfrm>
          <a:prstGeom prst="line">
            <a:avLst/>
          </a:prstGeom>
          <a:ln w="25400" cmpd="sng">
            <a:solidFill>
              <a:schemeClr val="bg1"/>
            </a:solidFill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1019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History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* 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first developed in the 70ies by Kenneth Wachter (?) and colleagues at the UC Berkeley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* written in FORTRAN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* </a:t>
            </a: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rewritten in C in the 80ie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* Used throughout the year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Similar and derived software emerged:</a:t>
            </a:r>
          </a:p>
        </p:txBody>
      </p:sp>
    </p:spTree>
    <p:extLst>
      <p:ext uri="{BB962C8B-B14F-4D97-AF65-F5344CB8AC3E}">
        <p14:creationId xmlns:p14="http://schemas.microsoft.com/office/powerpoint/2010/main" val="698984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Why </a:t>
            </a:r>
            <a:r>
              <a:rPr lang="en-US" dirty="0" err="1"/>
              <a:t>Socsim</a:t>
            </a:r>
            <a:endParaRPr lang="en-US" dirty="0"/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 It is established and well tested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 It is complex enough to support all the things that are interesting to us,
 While still simple enough to not introduce too much moving parts and unforeseeable inner interaction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 The basic simulation mechanic is still the same as it was 50 years ago.</a:t>
            </a:r>
          </a:p>
          <a:p>
            <a:endParaRPr lang="de-DE" sz="1400" b="1" spc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390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88638"/>
            <a:ext cx="9472374" cy="32664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Every person is an individual objec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The population is a long list of person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When a birth happens, a new person is created and appended to that lis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At the start of the simulation (or after an event), every person gets a “next event”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Events can be marriage, divorce, childbirth, death, etc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Time increments in discrete timestep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In every time step, all events scheduled for this time “happen”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A simulation can consist of 1 or more “segments”, every segment can have different rat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&amp;quot"/>
              </a:rPr>
              <a:t>At the end of the simulation, </a:t>
            </a:r>
            <a:r>
              <a:rPr lang="en-US" sz="1800" dirty="0" err="1">
                <a:solidFill>
                  <a:srgbClr val="000000"/>
                </a:solidFill>
                <a:latin typeface="&amp;quot"/>
              </a:rPr>
              <a:t>socsim</a:t>
            </a:r>
            <a:r>
              <a:rPr lang="en-US" sz="1800" dirty="0">
                <a:solidFill>
                  <a:srgbClr val="000000"/>
                </a:solidFill>
                <a:latin typeface="&amp;quot"/>
              </a:rPr>
              <a:t> writes the population into output file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0000"/>
              </a:solidFill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</p:spTree>
    <p:extLst>
      <p:ext uri="{BB962C8B-B14F-4D97-AF65-F5344CB8AC3E}">
        <p14:creationId xmlns:p14="http://schemas.microsoft.com/office/powerpoint/2010/main" val="16450568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240561"/>
            <a:ext cx="9296179" cy="536926"/>
          </a:xfrm>
        </p:spPr>
        <p:txBody>
          <a:bodyPr/>
          <a:lstStyle/>
          <a:p>
            <a:r>
              <a:rPr lang="en-US" dirty="0"/>
              <a:t>Person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777487"/>
            <a:ext cx="9296180" cy="30038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Every person has some parameters: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dead/alive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Sex</a:t>
            </a:r>
          </a:p>
          <a:p>
            <a:pPr marL="2857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female or male, nothing in between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marital status</a:t>
            </a:r>
          </a:p>
          <a:p>
            <a:pPr marL="2857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single, married, divorced, cohabiting, widowed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parity</a:t>
            </a:r>
          </a:p>
          <a:p>
            <a:pPr marL="2857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total number of children born to a woman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Group Number</a:t>
            </a:r>
          </a:p>
          <a:p>
            <a:pPr marL="2857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between 0 and 63. Can be used to simulate different groups/countries/towns.... with transition rates between group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Age</a:t>
            </a:r>
          </a:p>
          <a:p>
            <a:pPr marL="285750" lvl="1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In </a:t>
            </a:r>
            <a:r>
              <a:rPr lang="en-US" sz="1200" dirty="0">
                <a:solidFill>
                  <a:srgbClr val="000000"/>
                </a:solidFill>
                <a:latin typeface="&amp;quot"/>
              </a:rPr>
              <a:t>months, c</a:t>
            </a: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hanges with time steps, starts at 0. Max age is 200 year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Next event</a:t>
            </a: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</p:spTree>
    <p:extLst>
      <p:ext uri="{BB962C8B-B14F-4D97-AF65-F5344CB8AC3E}">
        <p14:creationId xmlns:p14="http://schemas.microsoft.com/office/powerpoint/2010/main" val="414368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2363FBE-ABC2-DD47-BC21-18CE9B3AB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5821" y="2173655"/>
            <a:ext cx="9296179" cy="536926"/>
          </a:xfrm>
        </p:spPr>
        <p:txBody>
          <a:bodyPr/>
          <a:lstStyle/>
          <a:p>
            <a:r>
              <a:rPr lang="en-US" dirty="0"/>
              <a:t>Events</a:t>
            </a:r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D4D44C56-CE2A-6F4C-ADAB-8BA7328BEFA5}"/>
              </a:ext>
            </a:extLst>
          </p:cNvPr>
          <p:cNvSpPr txBox="1">
            <a:spLocks/>
          </p:cNvSpPr>
          <p:nvPr/>
        </p:nvSpPr>
        <p:spPr>
          <a:xfrm>
            <a:off x="1455821" y="2575933"/>
            <a:ext cx="9296180" cy="31496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birth</a:t>
            </a:r>
          </a:p>
          <a:p>
            <a:pPr marL="285750" lvl="1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creation of a new person with age 0 and parameters that are random (sex) or derived (marital status=single at birth, …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death</a:t>
            </a:r>
          </a:p>
          <a:p>
            <a:pPr marL="285750" lvl="1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according to mortality rates. These are specific to parameters of the individual persons (age, gender, groups, parity, marital status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marriage</a:t>
            </a:r>
          </a:p>
          <a:p>
            <a:pPr marL="285750" lvl="1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Just like in real live, Marriage is the most complicated event, because it involves 2 persons.</a:t>
            </a:r>
          </a:p>
          <a:p>
            <a:pPr marL="285750" lvl="1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rgbClr val="000000"/>
                </a:solidFill>
                <a:effectLst/>
                <a:latin typeface="&amp;quot"/>
              </a:rPr>
              <a:t>Socsim</a:t>
            </a:r>
            <a:r>
              <a:rPr lang="en-US" sz="1200" dirty="0">
                <a:solidFill>
                  <a:srgbClr val="000000"/>
                </a:solidFill>
                <a:effectLst/>
                <a:latin typeface="&amp;quot"/>
              </a:rPr>
              <a:t> comes with 3 Marriage market systems</a:t>
            </a:r>
          </a:p>
          <a:p>
            <a:pPr marL="12001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effectLst/>
                <a:latin typeface="&amp;quot"/>
              </a:rPr>
              <a:t>1 - Marriage rates for both males and females</a:t>
            </a:r>
          </a:p>
          <a:p>
            <a:pPr marL="12001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effectLst/>
                <a:latin typeface="&amp;quot"/>
              </a:rPr>
              <a:t>2 - Marriage rates only for females - males just get picked</a:t>
            </a:r>
          </a:p>
          <a:p>
            <a:pPr marL="1200150" lvl="2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effectLst/>
                <a:latin typeface="&amp;quot"/>
              </a:rPr>
              <a:t>3 - No marriage rates; Marriage just before a childbirth to an unmarried mother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Divorce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0000"/>
                </a:solidFill>
                <a:effectLst/>
                <a:latin typeface="&amp;quot"/>
              </a:rPr>
              <a:t>Childbirth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rgbClr val="000000"/>
              </a:solidFill>
              <a:effectLst/>
              <a:latin typeface="&amp;quot"/>
            </a:endParaRPr>
          </a:p>
        </p:txBody>
      </p:sp>
      <p:sp>
        <p:nvSpPr>
          <p:cNvPr id="2" name="Titel 6">
            <a:extLst>
              <a:ext uri="{FF2B5EF4-FFF2-40B4-BE49-F238E27FC236}">
                <a16:creationId xmlns:a16="http://schemas.microsoft.com/office/drawing/2014/main" id="{0753ADE5-16FC-B417-0574-CC1DAC3A4B25}"/>
              </a:ext>
            </a:extLst>
          </p:cNvPr>
          <p:cNvSpPr txBox="1">
            <a:spLocks/>
          </p:cNvSpPr>
          <p:nvPr/>
        </p:nvSpPr>
        <p:spPr>
          <a:xfrm>
            <a:off x="812800" y="1016001"/>
            <a:ext cx="6290527" cy="35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ow does </a:t>
            </a:r>
            <a:r>
              <a:rPr lang="en-US" dirty="0" err="1"/>
              <a:t>Socsim</a:t>
            </a:r>
            <a:r>
              <a:rPr lang="en-US" dirty="0"/>
              <a:t> work?</a:t>
            </a:r>
          </a:p>
        </p:txBody>
      </p:sp>
    </p:spTree>
    <p:extLst>
      <p:ext uri="{BB962C8B-B14F-4D97-AF65-F5344CB8AC3E}">
        <p14:creationId xmlns:p14="http://schemas.microsoft.com/office/powerpoint/2010/main" val="1092204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-MPIDR-TemplateTalks</Template>
  <TotalTime>0</TotalTime>
  <Words>1598</Words>
  <Application>Microsoft Office PowerPoint</Application>
  <PresentationFormat>Breitbild</PresentationFormat>
  <Paragraphs>184</Paragraphs>
  <Slides>18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7" baseType="lpstr">
      <vt:lpstr>&amp;quot</vt:lpstr>
      <vt:lpstr>.SF NS Symbols Regular</vt:lpstr>
      <vt:lpstr>Arial</vt:lpstr>
      <vt:lpstr>Calibri</vt:lpstr>
      <vt:lpstr>Symbol</vt:lpstr>
      <vt:lpstr>Wingdings</vt:lpstr>
      <vt:lpstr>Wingdings 3</vt:lpstr>
      <vt:lpstr>MPG_2020</vt:lpstr>
      <vt:lpstr>think-cell Folie</vt:lpstr>
      <vt:lpstr>rsocsim</vt:lpstr>
      <vt:lpstr>PowerPoint-Präsentation</vt:lpstr>
      <vt:lpstr>PowerPoint-Präsentation</vt:lpstr>
      <vt:lpstr>Agenda</vt:lpstr>
      <vt:lpstr>History</vt:lpstr>
      <vt:lpstr>Why Socsim</vt:lpstr>
      <vt:lpstr>Overview</vt:lpstr>
      <vt:lpstr>Person</vt:lpstr>
      <vt:lpstr>Events</vt:lpstr>
      <vt:lpstr>Event Scheduling</vt:lpstr>
      <vt:lpstr>Event Scheduling</vt:lpstr>
      <vt:lpstr>Segments</vt:lpstr>
      <vt:lpstr>At the End of a Simulation</vt:lpstr>
      <vt:lpstr>At the End of a Simulation</vt:lpstr>
      <vt:lpstr>At the End of a Simulation</vt:lpstr>
      <vt:lpstr>What is different now? Why R?</vt:lpstr>
      <vt:lpstr>Future work</vt:lpstr>
      <vt:lpstr>Thank you for your attention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meinsames Arbeiten an bibliometrischen Daten</dc:title>
  <dc:creator>Theile, Tom</dc:creator>
  <cp:lastModifiedBy>Alex Theile</cp:lastModifiedBy>
  <cp:revision>21</cp:revision>
  <dcterms:created xsi:type="dcterms:W3CDTF">2022-09-12T09:22:29Z</dcterms:created>
  <dcterms:modified xsi:type="dcterms:W3CDTF">2023-04-12T16:51:46Z</dcterms:modified>
</cp:coreProperties>
</file>